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3.xml" ContentType="application/vnd.openxmlformats-officedocument.presentationml.tags+xml"/>
  <Override PartName="/ppt/notesSlides/notesSlide1.xml" ContentType="application/vnd.openxmlformats-officedocument.presentationml.notesSlide+xml"/>
  <Override PartName="/ppt/tags/tag84.xml" ContentType="application/vnd.openxmlformats-officedocument.presentationml.tags+xml"/>
  <Override PartName="/ppt/notesSlides/notesSlide2.xml" ContentType="application/vnd.openxmlformats-officedocument.presentationml.notesSlide+xml"/>
  <Override PartName="/ppt/tags/tag85.xml" ContentType="application/vnd.openxmlformats-officedocument.presentationml.tags+xml"/>
  <Override PartName="/ppt/notesSlides/notesSlide3.xml" ContentType="application/vnd.openxmlformats-officedocument.presentationml.notesSlide+xml"/>
  <Override PartName="/ppt/tags/tag86.xml" ContentType="application/vnd.openxmlformats-officedocument.presentationml.tags+xml"/>
  <Override PartName="/ppt/notesSlides/notesSlide4.xml" ContentType="application/vnd.openxmlformats-officedocument.presentationml.notesSlide+xml"/>
  <Override PartName="/ppt/tags/tag87.xml" ContentType="application/vnd.openxmlformats-officedocument.presentationml.tags+xml"/>
  <Override PartName="/ppt/notesSlides/notesSlide5.xml" ContentType="application/vnd.openxmlformats-officedocument.presentationml.notesSlide+xml"/>
  <Override PartName="/ppt/tags/tag88.xml" ContentType="application/vnd.openxmlformats-officedocument.presentationml.tags+xml"/>
  <Override PartName="/ppt/notesSlides/notesSlide6.xml" ContentType="application/vnd.openxmlformats-officedocument.presentationml.notesSlide+xml"/>
  <Override PartName="/ppt/tags/tag89.xml" ContentType="application/vnd.openxmlformats-officedocument.presentationml.tags+xml"/>
  <Override PartName="/ppt/notesSlides/notesSlide7.xml" ContentType="application/vnd.openxmlformats-officedocument.presentationml.notesSlide+xml"/>
  <Override PartName="/ppt/tags/tag90.xml" ContentType="application/vnd.openxmlformats-officedocument.presentationml.tags+xml"/>
  <Override PartName="/ppt/notesSlides/notesSlide8.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18"/>
  </p:notesMasterIdLst>
  <p:handoutMasterIdLst>
    <p:handoutMasterId r:id="rId19"/>
  </p:handoutMasterIdLst>
  <p:sldIdLst>
    <p:sldId id="2132736100" r:id="rId5"/>
    <p:sldId id="2132736089" r:id="rId6"/>
    <p:sldId id="2132736099" r:id="rId7"/>
    <p:sldId id="2132736098" r:id="rId8"/>
    <p:sldId id="341" r:id="rId9"/>
    <p:sldId id="2132736097" r:id="rId10"/>
    <p:sldId id="2132736092" r:id="rId11"/>
    <p:sldId id="2132736103" r:id="rId12"/>
    <p:sldId id="2132736093" r:id="rId13"/>
    <p:sldId id="2132736101" r:id="rId14"/>
    <p:sldId id="2132736102" r:id="rId15"/>
    <p:sldId id="2132736105" r:id="rId16"/>
    <p:sldId id="2132736104"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03B4A2D-CC03-6A23-D79C-3FA6DC2F2E80}" name="Susan Xie" initials="SX" userId="S::Susan.Xie@Evalueserve.com::2f2ee9e8-4d6e-491b-9735-48c9a6a541e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dhurima Majumdar" initials="MM" lastIdx="1" clrIdx="0">
    <p:extLst>
      <p:ext uri="{19B8F6BF-5375-455C-9EA6-DF929625EA0E}">
        <p15:presenceInfo xmlns:p15="http://schemas.microsoft.com/office/powerpoint/2012/main" userId="S::Madhurima.Majumdar@evalueserve.com::daaa3904-3c94-4506-be8d-3311c97d6af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C1D2"/>
    <a:srgbClr val="4D80AF"/>
    <a:srgbClr val="E0044E"/>
    <a:srgbClr val="414042"/>
    <a:srgbClr val="E6E7E8"/>
    <a:srgbClr val="301038"/>
    <a:srgbClr val="993684"/>
    <a:srgbClr val="BCBEC0"/>
    <a:srgbClr val="43224D"/>
    <a:srgbClr val="F0F0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E25E649-3F16-4E02-A733-19D2CDBF48F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940" y="5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eoff Livingston" userId="ce1ded26-0cb6-4218-85a7-b63c7c96002f" providerId="ADAL" clId="{9D384D81-E063-4ABE-B0F8-B49DCD9D90C9}"/>
    <pc:docChg chg="undo custSel addSld delSld modSld sldOrd">
      <pc:chgData name="Geoff Livingston" userId="ce1ded26-0cb6-4218-85a7-b63c7c96002f" providerId="ADAL" clId="{9D384D81-E063-4ABE-B0F8-B49DCD9D90C9}" dt="2022-12-09T20:04:58.077" v="465" actId="20577"/>
      <pc:docMkLst>
        <pc:docMk/>
      </pc:docMkLst>
      <pc:sldChg chg="modSp mod">
        <pc:chgData name="Geoff Livingston" userId="ce1ded26-0cb6-4218-85a7-b63c7c96002f" providerId="ADAL" clId="{9D384D81-E063-4ABE-B0F8-B49DCD9D90C9}" dt="2022-12-09T20:04:57.899" v="464" actId="20577"/>
        <pc:sldMkLst>
          <pc:docMk/>
          <pc:sldMk cId="93908621" sldId="348"/>
        </pc:sldMkLst>
        <pc:spChg chg="mod">
          <ac:chgData name="Geoff Livingston" userId="ce1ded26-0cb6-4218-85a7-b63c7c96002f" providerId="ADAL" clId="{9D384D81-E063-4ABE-B0F8-B49DCD9D90C9}" dt="2022-12-09T20:04:57.899" v="464" actId="20577"/>
          <ac:spMkLst>
            <pc:docMk/>
            <pc:sldMk cId="93908621" sldId="348"/>
            <ac:spMk id="7" creationId="{8ADD44EC-ED22-40CA-9B87-0551ABA0D453}"/>
          </ac:spMkLst>
        </pc:spChg>
        <pc:spChg chg="mod">
          <ac:chgData name="Geoff Livingston" userId="ce1ded26-0cb6-4218-85a7-b63c7c96002f" providerId="ADAL" clId="{9D384D81-E063-4ABE-B0F8-B49DCD9D90C9}" dt="2022-12-09T20:00:03.593" v="191" actId="20577"/>
          <ac:spMkLst>
            <pc:docMk/>
            <pc:sldMk cId="93908621" sldId="348"/>
            <ac:spMk id="11" creationId="{898C069E-88E6-4C95-8D7D-19254978622E}"/>
          </ac:spMkLst>
        </pc:spChg>
      </pc:sldChg>
      <pc:sldChg chg="modSp mod">
        <pc:chgData name="Geoff Livingston" userId="ce1ded26-0cb6-4218-85a7-b63c7c96002f" providerId="ADAL" clId="{9D384D81-E063-4ABE-B0F8-B49DCD9D90C9}" dt="2022-12-09T19:58:35.520" v="149" actId="20577"/>
        <pc:sldMkLst>
          <pc:docMk/>
          <pc:sldMk cId="1343801445" sldId="2132736060"/>
        </pc:sldMkLst>
        <pc:spChg chg="mod">
          <ac:chgData name="Geoff Livingston" userId="ce1ded26-0cb6-4218-85a7-b63c7c96002f" providerId="ADAL" clId="{9D384D81-E063-4ABE-B0F8-B49DCD9D90C9}" dt="2022-12-09T19:58:35.520" v="149" actId="20577"/>
          <ac:spMkLst>
            <pc:docMk/>
            <pc:sldMk cId="1343801445" sldId="2132736060"/>
            <ac:spMk id="2" creationId="{7D01392B-9EC5-41D5-B6B3-D6D3F6FAD615}"/>
          </ac:spMkLst>
        </pc:spChg>
        <pc:spChg chg="mod ord">
          <ac:chgData name="Geoff Livingston" userId="ce1ded26-0cb6-4218-85a7-b63c7c96002f" providerId="ADAL" clId="{9D384D81-E063-4ABE-B0F8-B49DCD9D90C9}" dt="2022-12-09T19:56:20.157" v="106" actId="166"/>
          <ac:spMkLst>
            <pc:docMk/>
            <pc:sldMk cId="1343801445" sldId="2132736060"/>
            <ac:spMk id="3" creationId="{F0255CDF-0DBD-4865-8678-4A4F0C84C097}"/>
          </ac:spMkLst>
        </pc:spChg>
        <pc:spChg chg="mod">
          <ac:chgData name="Geoff Livingston" userId="ce1ded26-0cb6-4218-85a7-b63c7c96002f" providerId="ADAL" clId="{9D384D81-E063-4ABE-B0F8-B49DCD9D90C9}" dt="2022-12-09T19:56:06.774" v="105" actId="1036"/>
          <ac:spMkLst>
            <pc:docMk/>
            <pc:sldMk cId="1343801445" sldId="2132736060"/>
            <ac:spMk id="4" creationId="{1174615B-D227-4CAE-AD8A-5085A4D16585}"/>
          </ac:spMkLst>
        </pc:spChg>
      </pc:sldChg>
      <pc:sldChg chg="modSp mod ord">
        <pc:chgData name="Geoff Livingston" userId="ce1ded26-0cb6-4218-85a7-b63c7c96002f" providerId="ADAL" clId="{9D384D81-E063-4ABE-B0F8-B49DCD9D90C9}" dt="2022-12-09T20:04:58.077" v="465" actId="20577"/>
        <pc:sldMkLst>
          <pc:docMk/>
          <pc:sldMk cId="1579404" sldId="2132736089"/>
        </pc:sldMkLst>
        <pc:spChg chg="mod">
          <ac:chgData name="Geoff Livingston" userId="ce1ded26-0cb6-4218-85a7-b63c7c96002f" providerId="ADAL" clId="{9D384D81-E063-4ABE-B0F8-B49DCD9D90C9}" dt="2022-12-09T20:04:58.077" v="465" actId="20577"/>
          <ac:spMkLst>
            <pc:docMk/>
            <pc:sldMk cId="1579404" sldId="2132736089"/>
            <ac:spMk id="51" creationId="{DC4E93E1-8864-4759-9EB7-C6DF15B47EA6}"/>
          </ac:spMkLst>
        </pc:spChg>
      </pc:sldChg>
      <pc:sldChg chg="add del">
        <pc:chgData name="Geoff Livingston" userId="ce1ded26-0cb6-4218-85a7-b63c7c96002f" providerId="ADAL" clId="{9D384D81-E063-4ABE-B0F8-B49DCD9D90C9}" dt="2022-12-09T20:04:54.283" v="446"/>
        <pc:sldMkLst>
          <pc:docMk/>
          <pc:sldMk cId="1405814475" sldId="2145705935"/>
        </pc:sldMkLst>
      </pc:sldChg>
    </pc:docChg>
  </pc:docChgLst>
  <pc:docChgLst>
    <pc:chgData name="Jacob Walter" userId="S::jacob.walter@evalueserve.com::65edc309-c6fd-4033-8729-140a2c87f2be" providerId="AD" clId="Web-{D6DFFAF9-9A6D-8C25-A64F-74F6F2DE8A6B}"/>
    <pc:docChg chg="addSld delSld">
      <pc:chgData name="Jacob Walter" userId="S::jacob.walter@evalueserve.com::65edc309-c6fd-4033-8729-140a2c87f2be" providerId="AD" clId="Web-{D6DFFAF9-9A6D-8C25-A64F-74F6F2DE8A6B}" dt="2022-12-06T12:31:29.219" v="1"/>
      <pc:docMkLst>
        <pc:docMk/>
      </pc:docMkLst>
      <pc:sldChg chg="new del">
        <pc:chgData name="Jacob Walter" userId="S::jacob.walter@evalueserve.com::65edc309-c6fd-4033-8729-140a2c87f2be" providerId="AD" clId="Web-{D6DFFAF9-9A6D-8C25-A64F-74F6F2DE8A6B}" dt="2022-12-06T12:31:29.219" v="1"/>
        <pc:sldMkLst>
          <pc:docMk/>
          <pc:sldMk cId="3021672214" sldId="2132736098"/>
        </pc:sldMkLst>
      </pc:sldChg>
    </pc:docChg>
  </pc:docChgLst>
  <pc:docChgLst>
    <pc:chgData name="Zahir Abbas (S&amp;M-01)" userId="bb512bf6-3ef5-414a-8c9c-8f9caaf4a502" providerId="ADAL" clId="{02D17416-FF32-47A7-8B34-9D40E6FA92E1}"/>
    <pc:docChg chg="modSld sldOrd">
      <pc:chgData name="Zahir Abbas (S&amp;M-01)" userId="bb512bf6-3ef5-414a-8c9c-8f9caaf4a502" providerId="ADAL" clId="{02D17416-FF32-47A7-8B34-9D40E6FA92E1}" dt="2023-02-17T23:55:52.489" v="2" actId="1076"/>
      <pc:docMkLst>
        <pc:docMk/>
      </pc:docMkLst>
      <pc:sldChg chg="modSp mod">
        <pc:chgData name="Zahir Abbas (S&amp;M-01)" userId="bb512bf6-3ef5-414a-8c9c-8f9caaf4a502" providerId="ADAL" clId="{02D17416-FF32-47A7-8B34-9D40E6FA92E1}" dt="2023-02-17T23:55:52.489" v="2" actId="1076"/>
        <pc:sldMkLst>
          <pc:docMk/>
          <pc:sldMk cId="886578130" sldId="2132736099"/>
        </pc:sldMkLst>
        <pc:spChg chg="mod">
          <ac:chgData name="Zahir Abbas (S&amp;M-01)" userId="bb512bf6-3ef5-414a-8c9c-8f9caaf4a502" providerId="ADAL" clId="{02D17416-FF32-47A7-8B34-9D40E6FA92E1}" dt="2023-02-17T23:55:52.489" v="2" actId="1076"/>
          <ac:spMkLst>
            <pc:docMk/>
            <pc:sldMk cId="886578130" sldId="2132736099"/>
            <ac:spMk id="9" creationId="{111BBF00-15FA-47F9-AB37-86E259F3E6E5}"/>
          </ac:spMkLst>
        </pc:spChg>
      </pc:sldChg>
      <pc:sldChg chg="ord">
        <pc:chgData name="Zahir Abbas (S&amp;M-01)" userId="bb512bf6-3ef5-414a-8c9c-8f9caaf4a502" providerId="ADAL" clId="{02D17416-FF32-47A7-8B34-9D40E6FA92E1}" dt="2023-02-17T23:55:24.027" v="1"/>
        <pc:sldMkLst>
          <pc:docMk/>
          <pc:sldMk cId="2748370180" sldId="2132736100"/>
        </pc:sldMkLst>
      </pc:sldChg>
    </pc:docChg>
  </pc:docChgLst>
  <pc:docChgLst>
    <pc:chgData name="Geoff Livingston" userId="S::geoff.livingston@evalueserve.com::ce1ded26-0cb6-4218-85a7-b63c7c96002f" providerId="AD" clId="Web-{F0E7FA32-53BF-4B9D-8F8C-36997FDD4973}"/>
    <pc:docChg chg="addSld delSld">
      <pc:chgData name="Geoff Livingston" userId="S::geoff.livingston@evalueserve.com::ce1ded26-0cb6-4218-85a7-b63c7c96002f" providerId="AD" clId="Web-{F0E7FA32-53BF-4B9D-8F8C-36997FDD4973}" dt="2022-12-09T20:08:27.703" v="11"/>
      <pc:docMkLst>
        <pc:docMk/>
      </pc:docMkLst>
      <pc:sldChg chg="del">
        <pc:chgData name="Geoff Livingston" userId="S::geoff.livingston@evalueserve.com::ce1ded26-0cb6-4218-85a7-b63c7c96002f" providerId="AD" clId="Web-{F0E7FA32-53BF-4B9D-8F8C-36997FDD4973}" dt="2022-12-09T20:08:25.641" v="10"/>
        <pc:sldMkLst>
          <pc:docMk/>
          <pc:sldMk cId="93908621" sldId="348"/>
        </pc:sldMkLst>
      </pc:sldChg>
      <pc:sldChg chg="del">
        <pc:chgData name="Geoff Livingston" userId="S::geoff.livingston@evalueserve.com::ce1ded26-0cb6-4218-85a7-b63c7c96002f" providerId="AD" clId="Web-{F0E7FA32-53BF-4B9D-8F8C-36997FDD4973}" dt="2022-12-09T20:08:27.703" v="11"/>
        <pc:sldMkLst>
          <pc:docMk/>
          <pc:sldMk cId="1656183654" sldId="349"/>
        </pc:sldMkLst>
      </pc:sldChg>
      <pc:sldChg chg="del">
        <pc:chgData name="Geoff Livingston" userId="S::geoff.livingston@evalueserve.com::ce1ded26-0cb6-4218-85a7-b63c7c96002f" providerId="AD" clId="Web-{F0E7FA32-53BF-4B9D-8F8C-36997FDD4973}" dt="2022-12-09T20:08:22.047" v="9"/>
        <pc:sldMkLst>
          <pc:docMk/>
          <pc:sldMk cId="1343801445" sldId="2132736060"/>
        </pc:sldMkLst>
      </pc:sldChg>
      <pc:sldChg chg="add del">
        <pc:chgData name="Geoff Livingston" userId="S::geoff.livingston@evalueserve.com::ce1ded26-0cb6-4218-85a7-b63c7c96002f" providerId="AD" clId="Web-{F0E7FA32-53BF-4B9D-8F8C-36997FDD4973}" dt="2022-12-09T20:08:14.031" v="8"/>
        <pc:sldMkLst>
          <pc:docMk/>
          <pc:sldMk cId="209587946" sldId="2132736098"/>
        </pc:sldMkLst>
      </pc:sldChg>
      <pc:sldChg chg="add del">
        <pc:chgData name="Geoff Livingston" userId="S::geoff.livingston@evalueserve.com::ce1ded26-0cb6-4218-85a7-b63c7c96002f" providerId="AD" clId="Web-{F0E7FA32-53BF-4B9D-8F8C-36997FDD4973}" dt="2022-12-09T20:08:13.922" v="7"/>
        <pc:sldMkLst>
          <pc:docMk/>
          <pc:sldMk cId="886578130" sldId="2132736099"/>
        </pc:sldMkLst>
      </pc:sldChg>
      <pc:sldChg chg="add del">
        <pc:chgData name="Geoff Livingston" userId="S::geoff.livingston@evalueserve.com::ce1ded26-0cb6-4218-85a7-b63c7c96002f" providerId="AD" clId="Web-{F0E7FA32-53BF-4B9D-8F8C-36997FDD4973}" dt="2022-12-09T20:08:13.203" v="6"/>
        <pc:sldMkLst>
          <pc:docMk/>
          <pc:sldMk cId="2748370180" sldId="2132736100"/>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831C3C9-8BB4-41CE-AFD9-F29D7FB374C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BDE2AA12-045A-4286-AF34-21E446AFDA6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EFE2E85-3F1B-4735-9440-E547577C036D}" type="datetimeFigureOut">
              <a:rPr lang="en-GB" smtClean="0"/>
              <a:t>06/03/2025</a:t>
            </a:fld>
            <a:endParaRPr lang="en-GB"/>
          </a:p>
        </p:txBody>
      </p:sp>
      <p:sp>
        <p:nvSpPr>
          <p:cNvPr id="4" name="Footer Placeholder 3">
            <a:extLst>
              <a:ext uri="{FF2B5EF4-FFF2-40B4-BE49-F238E27FC236}">
                <a16:creationId xmlns:a16="http://schemas.microsoft.com/office/drawing/2014/main" id="{7E035F69-0441-45AB-9075-3159AB32432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4F0DD238-8E14-4D6F-AEF3-941566C3D3D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A1B7E8-778D-4516-A21D-A027C86556B5}" type="slidenum">
              <a:rPr lang="en-GB" smtClean="0"/>
              <a:t>‹#›</a:t>
            </a:fld>
            <a:endParaRPr lang="en-GB"/>
          </a:p>
        </p:txBody>
      </p:sp>
    </p:spTree>
    <p:extLst>
      <p:ext uri="{BB962C8B-B14F-4D97-AF65-F5344CB8AC3E}">
        <p14:creationId xmlns:p14="http://schemas.microsoft.com/office/powerpoint/2010/main" val="26597369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6B3EEA-D1A9-4940-9B9B-02A0AAADE5C4}" type="datetimeFigureOut">
              <a:rPr lang="en-GB" smtClean="0"/>
              <a:t>06/03/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A6077C7-D987-43E8-8DBF-729E2B9862E9}" type="slidenum">
              <a:rPr lang="en-GB" smtClean="0"/>
              <a:t>‹#›</a:t>
            </a:fld>
            <a:endParaRPr lang="en-GB"/>
          </a:p>
        </p:txBody>
      </p:sp>
    </p:spTree>
    <p:extLst>
      <p:ext uri="{BB962C8B-B14F-4D97-AF65-F5344CB8AC3E}">
        <p14:creationId xmlns:p14="http://schemas.microsoft.com/office/powerpoint/2010/main" val="852524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lease insert direction from slide 1 into slide 2. We would also like to know if we can push out a new version through the PPT toolbar 6 months from now.</a:t>
            </a:r>
            <a:endParaRPr lang="en-US" dirty="0"/>
          </a:p>
        </p:txBody>
      </p:sp>
      <p:sp>
        <p:nvSpPr>
          <p:cNvPr id="4" name="Slide Number Placeholder 3"/>
          <p:cNvSpPr>
            <a:spLocks noGrp="1"/>
          </p:cNvSpPr>
          <p:nvPr>
            <p:ph type="sldNum" sz="quarter" idx="5"/>
          </p:nvPr>
        </p:nvSpPr>
        <p:spPr/>
        <p:txBody>
          <a:bodyPr/>
          <a:lstStyle/>
          <a:p>
            <a:fld id="{AA6077C7-D987-43E8-8DBF-729E2B9862E9}" type="slidenum">
              <a:rPr lang="en-GB" smtClean="0"/>
              <a:t>1</a:t>
            </a:fld>
            <a:endParaRPr lang="en-GB"/>
          </a:p>
        </p:txBody>
      </p:sp>
    </p:spTree>
    <p:extLst>
      <p:ext uri="{BB962C8B-B14F-4D97-AF65-F5344CB8AC3E}">
        <p14:creationId xmlns:p14="http://schemas.microsoft.com/office/powerpoint/2010/main" val="15564674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AA6077C7-D987-43E8-8DBF-729E2B9862E9}" type="slidenum">
              <a:rPr lang="en-GB" smtClean="0"/>
              <a:t>2</a:t>
            </a:fld>
            <a:endParaRPr lang="en-GB"/>
          </a:p>
        </p:txBody>
      </p:sp>
    </p:spTree>
    <p:extLst>
      <p:ext uri="{BB962C8B-B14F-4D97-AF65-F5344CB8AC3E}">
        <p14:creationId xmlns:p14="http://schemas.microsoft.com/office/powerpoint/2010/main" val="3791465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as this part of the original priority 1? We should only have 3 title slide options.</a:t>
            </a:r>
          </a:p>
          <a:p>
            <a:r>
              <a:rPr lang="en-US">
                <a:cs typeface="Calibri"/>
              </a:rPr>
              <a:t>- We had 3 and then I  added the instruction slide. I just deleted that one though because I added the instructions to slide 1.</a:t>
            </a:r>
          </a:p>
        </p:txBody>
      </p:sp>
      <p:sp>
        <p:nvSpPr>
          <p:cNvPr id="4" name="Slide Number Placeholder 3"/>
          <p:cNvSpPr>
            <a:spLocks noGrp="1"/>
          </p:cNvSpPr>
          <p:nvPr>
            <p:ph type="sldNum" sz="quarter" idx="5"/>
          </p:nvPr>
        </p:nvSpPr>
        <p:spPr/>
        <p:txBody>
          <a:bodyPr/>
          <a:lstStyle/>
          <a:p>
            <a:fld id="{AA6077C7-D987-43E8-8DBF-729E2B9862E9}" type="slidenum">
              <a:rPr lang="en-GB" smtClean="0"/>
              <a:t>3</a:t>
            </a:fld>
            <a:endParaRPr lang="en-GB"/>
          </a:p>
        </p:txBody>
      </p:sp>
    </p:spTree>
    <p:extLst>
      <p:ext uri="{BB962C8B-B14F-4D97-AF65-F5344CB8AC3E}">
        <p14:creationId xmlns:p14="http://schemas.microsoft.com/office/powerpoint/2010/main" val="27920794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A6077C7-D987-43E8-8DBF-729E2B9862E9}" type="slidenum">
              <a:rPr lang="en-GB" smtClean="0"/>
              <a:t>4</a:t>
            </a:fld>
            <a:endParaRPr lang="en-GB"/>
          </a:p>
        </p:txBody>
      </p:sp>
    </p:spTree>
    <p:extLst>
      <p:ext uri="{BB962C8B-B14F-4D97-AF65-F5344CB8AC3E}">
        <p14:creationId xmlns:p14="http://schemas.microsoft.com/office/powerpoint/2010/main" val="29968357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A6077C7-D987-43E8-8DBF-729E2B9862E9}" type="slidenum">
              <a:rPr lang="en-GB" smtClean="0"/>
              <a:t>5</a:t>
            </a:fld>
            <a:endParaRPr lang="en-GB"/>
          </a:p>
        </p:txBody>
      </p:sp>
    </p:spTree>
    <p:extLst>
      <p:ext uri="{BB962C8B-B14F-4D97-AF65-F5344CB8AC3E}">
        <p14:creationId xmlns:p14="http://schemas.microsoft.com/office/powerpoint/2010/main" val="20912041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an you provide different options for this slide. Note that we should be able to crop images.</a:t>
            </a:r>
          </a:p>
        </p:txBody>
      </p:sp>
      <p:sp>
        <p:nvSpPr>
          <p:cNvPr id="4" name="Slide Number Placeholder 3"/>
          <p:cNvSpPr>
            <a:spLocks noGrp="1"/>
          </p:cNvSpPr>
          <p:nvPr>
            <p:ph type="sldNum" sz="quarter" idx="5"/>
          </p:nvPr>
        </p:nvSpPr>
        <p:spPr/>
        <p:txBody>
          <a:bodyPr/>
          <a:lstStyle/>
          <a:p>
            <a:fld id="{AA6077C7-D987-43E8-8DBF-729E2B9862E9}" type="slidenum">
              <a:rPr lang="en-GB" smtClean="0"/>
              <a:t>6</a:t>
            </a:fld>
            <a:endParaRPr lang="en-GB"/>
          </a:p>
        </p:txBody>
      </p:sp>
    </p:spTree>
    <p:extLst>
      <p:ext uri="{BB962C8B-B14F-4D97-AF65-F5344CB8AC3E}">
        <p14:creationId xmlns:p14="http://schemas.microsoft.com/office/powerpoint/2010/main" val="5360082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AA6077C7-D987-43E8-8DBF-729E2B9862E9}" type="slidenum">
              <a:rPr lang="en-GB" smtClean="0"/>
              <a:t>7</a:t>
            </a:fld>
            <a:endParaRPr lang="en-GB"/>
          </a:p>
        </p:txBody>
      </p:sp>
    </p:spTree>
    <p:extLst>
      <p:ext uri="{BB962C8B-B14F-4D97-AF65-F5344CB8AC3E}">
        <p14:creationId xmlns:p14="http://schemas.microsoft.com/office/powerpoint/2010/main" val="21745212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5"/>
          </p:nvPr>
        </p:nvSpPr>
        <p:spPr/>
        <p:txBody>
          <a:bodyPr/>
          <a:lstStyle/>
          <a:p>
            <a:fld id="{AA6077C7-D987-43E8-8DBF-729E2B9862E9}" type="slidenum">
              <a:rPr lang="en-GB" smtClean="0"/>
              <a:t>9</a:t>
            </a:fld>
            <a:endParaRPr lang="en-GB"/>
          </a:p>
        </p:txBody>
      </p:sp>
    </p:spTree>
    <p:extLst>
      <p:ext uri="{BB962C8B-B14F-4D97-AF65-F5344CB8AC3E}">
        <p14:creationId xmlns:p14="http://schemas.microsoft.com/office/powerpoint/2010/main" val="216133187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0.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4.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sv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png"/><Relationship Id="rId5" Type="http://schemas.openxmlformats.org/officeDocument/2006/relationships/image" Target="NULL"/><Relationship Id="rId4" Type="http://schemas.openxmlformats.org/officeDocument/2006/relationships/oleObject" Target="../embeddings/oleObject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NULL"/><Relationship Id="rId4" Type="http://schemas.openxmlformats.org/officeDocument/2006/relationships/oleObject" Target="../embeddings/oleObject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NULL"/><Relationship Id="rId4" Type="http://schemas.openxmlformats.org/officeDocument/2006/relationships/oleObject" Target="../embeddings/oleObject8.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NULL"/><Relationship Id="rId4"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NULL"/><Relationship Id="rId4" Type="http://schemas.openxmlformats.org/officeDocument/2006/relationships/oleObject" Target="../embeddings/oleObject10.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slideMaster" Target="../slideMasters/slideMaster1.xml"/><Relationship Id="rId7" Type="http://schemas.openxmlformats.org/officeDocument/2006/relationships/image" Target="../media/image17.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6.jpeg"/><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NULL"/><Relationship Id="rId4" Type="http://schemas.openxmlformats.org/officeDocument/2006/relationships/oleObject" Target="../embeddings/oleObject12.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6.jpeg"/><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NULL"/><Relationship Id="rId4" Type="http://schemas.openxmlformats.org/officeDocument/2006/relationships/oleObject" Target="../embeddings/oleObject14.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sv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7.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sv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png"/><Relationship Id="rId5" Type="http://schemas.openxmlformats.org/officeDocument/2006/relationships/image" Target="NULL"/><Relationship Id="rId4" Type="http://schemas.openxmlformats.org/officeDocument/2006/relationships/oleObject" Target="../embeddings/oleObject16.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png"/><Relationship Id="rId5" Type="http://schemas.openxmlformats.org/officeDocument/2006/relationships/image" Target="NULL"/><Relationship Id="rId4" Type="http://schemas.openxmlformats.org/officeDocument/2006/relationships/oleObject" Target="../embeddings/oleObject1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9.sv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7.png"/><Relationship Id="rId5" Type="http://schemas.openxmlformats.org/officeDocument/2006/relationships/image" Target="NULL"/><Relationship Id="rId4" Type="http://schemas.openxmlformats.org/officeDocument/2006/relationships/oleObject" Target="../embeddings/oleObject1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NULL"/><Relationship Id="rId4" Type="http://schemas.openxmlformats.org/officeDocument/2006/relationships/oleObject" Target="../embeddings/oleObject1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NULL"/><Relationship Id="rId4" Type="http://schemas.openxmlformats.org/officeDocument/2006/relationships/oleObject" Target="../embeddings/oleObject1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NULL"/><Relationship Id="rId4" Type="http://schemas.openxmlformats.org/officeDocument/2006/relationships/oleObject" Target="../embeddings/oleObject20.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NULL"/><Relationship Id="rId4" Type="http://schemas.openxmlformats.org/officeDocument/2006/relationships/oleObject" Target="../embeddings/oleObject21.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19.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19.svg"/></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NULL"/><Relationship Id="rId4" Type="http://schemas.openxmlformats.org/officeDocument/2006/relationships/oleObject" Target="../embeddings/oleObject2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NULL"/><Relationship Id="rId4" Type="http://schemas.openxmlformats.org/officeDocument/2006/relationships/oleObject" Target="../embeddings/oleObject2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NULL"/><Relationship Id="rId4" Type="http://schemas.openxmlformats.org/officeDocument/2006/relationships/oleObject" Target="../embeddings/oleObject24.bin"/></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19.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65.xml"/><Relationship Id="rId4" Type="http://schemas.openxmlformats.org/officeDocument/2006/relationships/image" Target="../media/image19.svg"/></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NULL"/><Relationship Id="rId4" Type="http://schemas.openxmlformats.org/officeDocument/2006/relationships/oleObject" Target="../embeddings/oleObject2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NULL"/><Relationship Id="rId4" Type="http://schemas.openxmlformats.org/officeDocument/2006/relationships/oleObject" Target="../embeddings/oleObject2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NULL"/><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0.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9.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9.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73.xml"/><Relationship Id="rId4" Type="http://schemas.openxmlformats.org/officeDocument/2006/relationships/image" Target="../media/image19.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74.xml"/><Relationship Id="rId4" Type="http://schemas.openxmlformats.org/officeDocument/2006/relationships/image" Target="../media/image19.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xml"/><Relationship Id="rId1" Type="http://schemas.openxmlformats.org/officeDocument/2006/relationships/tags" Target="../tags/tag75.xml"/><Relationship Id="rId4" Type="http://schemas.openxmlformats.org/officeDocument/2006/relationships/image" Target="../media/image21.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76.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NULL"/><Relationship Id="rId4" Type="http://schemas.openxmlformats.org/officeDocument/2006/relationships/oleObject" Target="../embeddings/oleObject25.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NULL"/><Relationship Id="rId4" Type="http://schemas.openxmlformats.org/officeDocument/2006/relationships/oleObject" Target="../embeddings/oleObject27.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NULL"/><Relationship Id="rId4" Type="http://schemas.openxmlformats.org/officeDocument/2006/relationships/oleObject" Target="../embeddings/oleObject4.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NULL"/><Relationship Id="rId4" Type="http://schemas.openxmlformats.org/officeDocument/2006/relationships/oleObject" Target="../embeddings/oleObject28.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NULL"/><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Cover with Ima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DCAF9CD-25CE-4E0F-9181-3BE1B37853D4}"/>
              </a:ext>
            </a:extLst>
          </p:cNvPr>
          <p:cNvGraphicFramePr>
            <a:graphicFrameLocks noChangeAspect="1"/>
          </p:cNvGraphicFramePr>
          <p:nvPr userDrawn="1">
            <p:custDataLst>
              <p:tags r:id="rId2"/>
            </p:custDataLst>
            <p:extLst>
              <p:ext uri="{D42A27DB-BD31-4B8C-83A1-F6EECF244321}">
                <p14:modId xmlns:p14="http://schemas.microsoft.com/office/powerpoint/2010/main" val="1331089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6DCAF9CD-25CE-4E0F-9181-3BE1B37853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FE7C4582-1619-4D7E-A465-6F7E5CBE2805}"/>
              </a:ext>
            </a:extLst>
          </p:cNvPr>
          <p:cNvSpPr/>
          <p:nvPr userDrawn="1"/>
        </p:nvSpPr>
        <p:spPr>
          <a:xfrm>
            <a:off x="0" y="0"/>
            <a:ext cx="12192000" cy="6858000"/>
          </a:xfrm>
          <a:prstGeom prst="rect">
            <a:avLst/>
          </a:prstGeom>
          <a:blipFill>
            <a:blip r:embed="rId6"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a:extLst>
              <a:ext uri="{FF2B5EF4-FFF2-40B4-BE49-F238E27FC236}">
                <a16:creationId xmlns:a16="http://schemas.microsoft.com/office/drawing/2014/main" id="{7CF8B57D-2DC0-44FD-A100-240874391ABC}"/>
              </a:ext>
            </a:extLst>
          </p:cNvPr>
          <p:cNvSpPr>
            <a:spLocks/>
          </p:cNvSpPr>
          <p:nvPr userDrawn="1"/>
        </p:nvSpPr>
        <p:spPr>
          <a:xfrm>
            <a:off x="0" y="0"/>
            <a:ext cx="12192000" cy="6858000"/>
          </a:xfrm>
          <a:prstGeom prst="rect">
            <a:avLst/>
          </a:prstGeom>
          <a:solidFill>
            <a:schemeClr val="tx1">
              <a:lumMod val="5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0"/>
          </a:p>
        </p:txBody>
      </p:sp>
      <p:sp>
        <p:nvSpPr>
          <p:cNvPr id="3" name="Subtitle 2">
            <a:extLst>
              <a:ext uri="{FF2B5EF4-FFF2-40B4-BE49-F238E27FC236}">
                <a16:creationId xmlns:a16="http://schemas.microsoft.com/office/drawing/2014/main" id="{90374356-2DEE-40D7-A5C3-76BE971FC02F}"/>
              </a:ext>
            </a:extLst>
          </p:cNvPr>
          <p:cNvSpPr>
            <a:spLocks noGrp="1"/>
          </p:cNvSpPr>
          <p:nvPr>
            <p:ph type="subTitle" idx="1" hasCustomPrompt="1"/>
          </p:nvPr>
        </p:nvSpPr>
        <p:spPr>
          <a:xfrm>
            <a:off x="1524000" y="4347687"/>
            <a:ext cx="9144000" cy="1258455"/>
          </a:xfrm>
        </p:spPr>
        <p:txBody>
          <a:bodyPr>
            <a:normAutofit/>
          </a:bodyPr>
          <a:lstStyle>
            <a:lvl1pPr marL="0" indent="0" algn="ctr">
              <a:buNone/>
              <a:defRPr sz="1400" b="0">
                <a:solidFill>
                  <a:schemeClr val="bg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endParaRPr lang="en-GB"/>
          </a:p>
        </p:txBody>
      </p:sp>
      <p:sp>
        <p:nvSpPr>
          <p:cNvPr id="8" name="Text Placeholder 7">
            <a:extLst>
              <a:ext uri="{FF2B5EF4-FFF2-40B4-BE49-F238E27FC236}">
                <a16:creationId xmlns:a16="http://schemas.microsoft.com/office/drawing/2014/main" id="{1CAAE0C1-BF92-4903-9FBA-D5BF95690F4A}"/>
              </a:ext>
            </a:extLst>
          </p:cNvPr>
          <p:cNvSpPr>
            <a:spLocks noGrp="1"/>
          </p:cNvSpPr>
          <p:nvPr>
            <p:ph type="body" sz="quarter" idx="11" hasCustomPrompt="1"/>
          </p:nvPr>
        </p:nvSpPr>
        <p:spPr>
          <a:xfrm>
            <a:off x="1524000" y="2834640"/>
            <a:ext cx="9144000" cy="957262"/>
          </a:xfrm>
        </p:spPr>
        <p:txBody>
          <a:bodyPr/>
          <a:lstStyle>
            <a:lvl1pPr marL="0" indent="0" algn="ctr" defTabSz="914400" rtl="0" eaLnBrk="1" latinLnBrk="0" hangingPunct="1">
              <a:buFontTx/>
              <a:buNone/>
              <a:defRPr lang="en-US" sz="5400" b="1" kern="1200" dirty="0" smtClean="0">
                <a:solidFill>
                  <a:schemeClr val="bg1"/>
                </a:solidFill>
                <a:latin typeface="Segoe UI" panose="020B0502040204020203" pitchFamily="34" charset="0"/>
                <a:ea typeface="+mn-ea"/>
                <a:cs typeface="Segoe UI" panose="020B0502040204020203" pitchFamily="34" charset="0"/>
              </a:defRPr>
            </a:lvl1pPr>
            <a:lvl2pPr marL="0" algn="ctr" defTabSz="914400" rtl="0" eaLnBrk="1" latinLnBrk="0" hangingPunct="1">
              <a:defRPr lang="en-US" sz="5400" b="1" kern="1200" dirty="0" smtClean="0">
                <a:solidFill>
                  <a:schemeClr val="bg1"/>
                </a:solidFill>
                <a:latin typeface="Segoe UI" panose="020B0502040204020203" pitchFamily="34" charset="0"/>
                <a:ea typeface="+mn-ea"/>
                <a:cs typeface="Segoe UI" panose="020B0502040204020203" pitchFamily="34" charset="0"/>
              </a:defRPr>
            </a:lvl2pPr>
            <a:lvl3pPr marL="0" algn="ctr" defTabSz="914400" rtl="0" eaLnBrk="1" latinLnBrk="0" hangingPunct="1">
              <a:defRPr lang="en-US" sz="5400" b="1" kern="1200" dirty="0" smtClean="0">
                <a:solidFill>
                  <a:schemeClr val="bg1"/>
                </a:solidFill>
                <a:latin typeface="Segoe UI" panose="020B0502040204020203" pitchFamily="34" charset="0"/>
                <a:ea typeface="+mn-ea"/>
                <a:cs typeface="Segoe UI" panose="020B0502040204020203" pitchFamily="34" charset="0"/>
              </a:defRPr>
            </a:lvl3pPr>
            <a:lvl4pPr marL="0" algn="ctr" defTabSz="914400" rtl="0" eaLnBrk="1" latinLnBrk="0" hangingPunct="1">
              <a:defRPr lang="en-US" sz="5400" b="1" kern="1200" dirty="0" smtClean="0">
                <a:solidFill>
                  <a:schemeClr val="bg1"/>
                </a:solidFill>
                <a:latin typeface="Segoe UI" panose="020B0502040204020203" pitchFamily="34" charset="0"/>
                <a:ea typeface="+mn-ea"/>
                <a:cs typeface="Segoe UI" panose="020B0502040204020203" pitchFamily="34" charset="0"/>
              </a:defRPr>
            </a:lvl4pPr>
            <a:lvl5pPr marL="0" indent="0" algn="ctr" defTabSz="914400" rtl="0" eaLnBrk="1" latinLnBrk="0" hangingPunct="1">
              <a:buNone/>
              <a:defRPr lang="en-IN" sz="5400" b="1" kern="1200" dirty="0">
                <a:solidFill>
                  <a:schemeClr val="bg1"/>
                </a:solidFill>
                <a:latin typeface="Segoe UI" panose="020B0502040204020203" pitchFamily="34" charset="0"/>
                <a:ea typeface="+mn-ea"/>
                <a:cs typeface="Segoe UI" panose="020B0502040204020203" pitchFamily="34" charset="0"/>
              </a:defRPr>
            </a:lvl5pPr>
          </a:lstStyle>
          <a:p>
            <a:pPr lvl="0"/>
            <a:r>
              <a:rPr lang="en-US"/>
              <a:t>Elevate your  impact.</a:t>
            </a:r>
          </a:p>
        </p:txBody>
      </p:sp>
      <p:pic>
        <p:nvPicPr>
          <p:cNvPr id="10" name="Graphic 9">
            <a:extLst>
              <a:ext uri="{FF2B5EF4-FFF2-40B4-BE49-F238E27FC236}">
                <a16:creationId xmlns:a16="http://schemas.microsoft.com/office/drawing/2014/main" id="{F6C513BA-F4D0-4BE8-AD46-3D8BE724AC3D}"/>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848850" y="557212"/>
            <a:ext cx="1905000" cy="198723"/>
          </a:xfrm>
          <a:prstGeom prst="rect">
            <a:avLst/>
          </a:prstGeom>
        </p:spPr>
      </p:pic>
      <p:sp>
        <p:nvSpPr>
          <p:cNvPr id="6" name="Picture Placeholder 5">
            <a:extLst>
              <a:ext uri="{FF2B5EF4-FFF2-40B4-BE49-F238E27FC236}">
                <a16:creationId xmlns:a16="http://schemas.microsoft.com/office/drawing/2014/main" id="{119A72D4-1730-4EC3-B3C5-2C80783888F4}"/>
              </a:ext>
            </a:extLst>
          </p:cNvPr>
          <p:cNvSpPr>
            <a:spLocks noGrp="1"/>
          </p:cNvSpPr>
          <p:nvPr>
            <p:ph type="pic" sz="quarter" idx="12"/>
          </p:nvPr>
        </p:nvSpPr>
        <p:spPr>
          <a:xfrm>
            <a:off x="9694863" y="5614416"/>
            <a:ext cx="2066544" cy="722376"/>
          </a:xfrm>
        </p:spPr>
        <p:txBody>
          <a:bodyPr/>
          <a:lstStyle>
            <a:lvl1pPr marL="0" indent="0">
              <a:buFontTx/>
              <a:buNone/>
              <a:defRPr/>
            </a:lvl1pPr>
          </a:lstStyle>
          <a:p>
            <a:endParaRPr lang="en-IN"/>
          </a:p>
        </p:txBody>
      </p:sp>
    </p:spTree>
    <p:custDataLst>
      <p:tags r:id="rId1"/>
    </p:custDataLst>
    <p:extLst>
      <p:ext uri="{BB962C8B-B14F-4D97-AF65-F5344CB8AC3E}">
        <p14:creationId xmlns:p14="http://schemas.microsoft.com/office/powerpoint/2010/main" val="2113764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Purple Center">
    <p:bg>
      <p:bgPr>
        <a:solidFill>
          <a:schemeClr val="accent1"/>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0374356-2DEE-40D7-A5C3-76BE971FC02F}"/>
              </a:ext>
            </a:extLst>
          </p:cNvPr>
          <p:cNvSpPr>
            <a:spLocks noGrp="1"/>
          </p:cNvSpPr>
          <p:nvPr>
            <p:ph type="subTitle" idx="1" hasCustomPrompt="1"/>
          </p:nvPr>
        </p:nvSpPr>
        <p:spPr>
          <a:xfrm>
            <a:off x="3525848" y="4405744"/>
            <a:ext cx="5140303" cy="1258455"/>
          </a:xfrm>
        </p:spPr>
        <p:txBody>
          <a:bodyPr>
            <a:normAutofit/>
          </a:bodyPr>
          <a:lstStyle>
            <a:lvl1pPr marL="0" indent="0" algn="ctr">
              <a:buNone/>
              <a:defRPr sz="1400" b="0">
                <a:solidFill>
                  <a:schemeClr val="bg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endParaRPr lang="en-GB"/>
          </a:p>
        </p:txBody>
      </p:sp>
      <p:sp>
        <p:nvSpPr>
          <p:cNvPr id="23" name="Title 22">
            <a:extLst>
              <a:ext uri="{FF2B5EF4-FFF2-40B4-BE49-F238E27FC236}">
                <a16:creationId xmlns:a16="http://schemas.microsoft.com/office/drawing/2014/main" id="{09E82F87-CF4A-4A93-9472-B0DDD5EDA077}"/>
              </a:ext>
            </a:extLst>
          </p:cNvPr>
          <p:cNvSpPr>
            <a:spLocks noGrp="1"/>
          </p:cNvSpPr>
          <p:nvPr>
            <p:ph type="title" hasCustomPrompt="1"/>
          </p:nvPr>
        </p:nvSpPr>
        <p:spPr>
          <a:xfrm>
            <a:off x="3130550" y="1847273"/>
            <a:ext cx="5930900" cy="2244509"/>
          </a:xfrm>
        </p:spPr>
        <p:txBody>
          <a:bodyPr anchor="ctr" anchorCtr="0">
            <a:noAutofit/>
          </a:bodyPr>
          <a:lstStyle>
            <a:lvl1pPr algn="ctr">
              <a:defRPr sz="4200">
                <a:solidFill>
                  <a:schemeClr val="bg1"/>
                </a:solidFill>
              </a:defRPr>
            </a:lvl1pPr>
          </a:lstStyle>
          <a:p>
            <a:r>
              <a:rPr lang="en-US"/>
              <a:t>Divider placeholder bit </a:t>
            </a:r>
            <a:r>
              <a:rPr lang="en-US" err="1"/>
              <a:t>odis</a:t>
            </a:r>
            <a:r>
              <a:rPr lang="en-US"/>
              <a:t> re </a:t>
            </a:r>
            <a:r>
              <a:rPr lang="en-US" err="1"/>
              <a:t>pernatiis</a:t>
            </a:r>
            <a:r>
              <a:rPr lang="en-US"/>
              <a:t> </a:t>
            </a:r>
            <a:r>
              <a:rPr lang="en-US" err="1"/>
              <a:t>dundel</a:t>
            </a:r>
            <a:r>
              <a:rPr lang="en-US"/>
              <a:t> </a:t>
            </a:r>
            <a:r>
              <a:rPr lang="en-US" err="1"/>
              <a:t>eatem</a:t>
            </a:r>
            <a:r>
              <a:rPr lang="en-US"/>
              <a:t> </a:t>
            </a:r>
            <a:r>
              <a:rPr lang="en-US" err="1"/>
              <a:t>epsum</a:t>
            </a:r>
            <a:r>
              <a:rPr lang="en-US"/>
              <a:t> </a:t>
            </a:r>
            <a:r>
              <a:rPr lang="en-US" err="1"/>
              <a:t>videntor</a:t>
            </a:r>
            <a:r>
              <a:rPr lang="en-US"/>
              <a:t>.</a:t>
            </a:r>
            <a:endParaRPr lang="en-GB"/>
          </a:p>
        </p:txBody>
      </p:sp>
      <p:pic>
        <p:nvPicPr>
          <p:cNvPr id="5" name="Graphic 4">
            <a:extLst>
              <a:ext uri="{FF2B5EF4-FFF2-40B4-BE49-F238E27FC236}">
                <a16:creationId xmlns:a16="http://schemas.microsoft.com/office/drawing/2014/main" id="{AE07885C-E56A-469D-B522-CA11AF0252C8}"/>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l="2467"/>
          <a:stretch>
            <a:fillRect/>
          </a:stretch>
        </p:blipFill>
        <p:spPr>
          <a:xfrm>
            <a:off x="0" y="5233935"/>
            <a:ext cx="1055390" cy="1069922"/>
          </a:xfrm>
          <a:custGeom>
            <a:avLst/>
            <a:gdLst>
              <a:gd name="connsiteX0" fmla="*/ 0 w 1055390"/>
              <a:gd name="connsiteY0" fmla="*/ 0 h 1069922"/>
              <a:gd name="connsiteX1" fmla="*/ 1055390 w 1055390"/>
              <a:gd name="connsiteY1" fmla="*/ 0 h 1069922"/>
              <a:gd name="connsiteX2" fmla="*/ 1055390 w 1055390"/>
              <a:gd name="connsiteY2" fmla="*/ 1069922 h 1069922"/>
              <a:gd name="connsiteX3" fmla="*/ 0 w 1055390"/>
              <a:gd name="connsiteY3" fmla="*/ 1069922 h 1069922"/>
            </a:gdLst>
            <a:ahLst/>
            <a:cxnLst>
              <a:cxn ang="0">
                <a:pos x="connsiteX0" y="connsiteY0"/>
              </a:cxn>
              <a:cxn ang="0">
                <a:pos x="connsiteX1" y="connsiteY1"/>
              </a:cxn>
              <a:cxn ang="0">
                <a:pos x="connsiteX2" y="connsiteY2"/>
              </a:cxn>
              <a:cxn ang="0">
                <a:pos x="connsiteX3" y="connsiteY3"/>
              </a:cxn>
            </a:cxnLst>
            <a:rect l="l" t="t" r="r" b="b"/>
            <a:pathLst>
              <a:path w="1055390" h="1069922">
                <a:moveTo>
                  <a:pt x="0" y="0"/>
                </a:moveTo>
                <a:lnTo>
                  <a:pt x="1055390" y="0"/>
                </a:lnTo>
                <a:lnTo>
                  <a:pt x="1055390" y="1069922"/>
                </a:lnTo>
                <a:lnTo>
                  <a:pt x="0" y="1069922"/>
                </a:lnTo>
                <a:close/>
              </a:path>
            </a:pathLst>
          </a:custGeom>
        </p:spPr>
      </p:pic>
    </p:spTree>
    <p:custDataLst>
      <p:tags r:id="rId1"/>
    </p:custDataLst>
    <p:extLst>
      <p:ext uri="{BB962C8B-B14F-4D97-AF65-F5344CB8AC3E}">
        <p14:creationId xmlns:p14="http://schemas.microsoft.com/office/powerpoint/2010/main" val="383840763"/>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Divider Image Center">
    <p:bg>
      <p:bgPr>
        <a:solidFill>
          <a:schemeClr val="tx2"/>
        </a:solidFill>
        <a:effectLst/>
      </p:bgPr>
    </p:bg>
    <p:spTree>
      <p:nvGrpSpPr>
        <p:cNvPr id="1" name=""/>
        <p:cNvGrpSpPr/>
        <p:nvPr/>
      </p:nvGrpSpPr>
      <p:grpSpPr>
        <a:xfrm>
          <a:off x="0" y="0"/>
          <a:ext cx="0" cy="0"/>
          <a:chOff x="0" y="0"/>
          <a:chExt cx="0" cy="0"/>
        </a:xfrm>
      </p:grpSpPr>
      <p:pic>
        <p:nvPicPr>
          <p:cNvPr id="4" name="Picture 3" descr="A picture containing blur, laser&#10;&#10;Description automatically generated">
            <a:extLst>
              <a:ext uri="{FF2B5EF4-FFF2-40B4-BE49-F238E27FC236}">
                <a16:creationId xmlns:a16="http://schemas.microsoft.com/office/drawing/2014/main" id="{C7B9FB9A-565F-4706-A7EF-DE1DEAC63C7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flipH="1">
            <a:off x="-1" y="0"/>
            <a:ext cx="12192001" cy="6858000"/>
          </a:xfrm>
          <a:prstGeom prst="rect">
            <a:avLst/>
          </a:prstGeom>
        </p:spPr>
      </p:pic>
      <p:sp>
        <p:nvSpPr>
          <p:cNvPr id="3" name="Subtitle 2">
            <a:extLst>
              <a:ext uri="{FF2B5EF4-FFF2-40B4-BE49-F238E27FC236}">
                <a16:creationId xmlns:a16="http://schemas.microsoft.com/office/drawing/2014/main" id="{90374356-2DEE-40D7-A5C3-76BE971FC02F}"/>
              </a:ext>
            </a:extLst>
          </p:cNvPr>
          <p:cNvSpPr>
            <a:spLocks noGrp="1"/>
          </p:cNvSpPr>
          <p:nvPr>
            <p:ph type="subTitle" idx="1" hasCustomPrompt="1"/>
          </p:nvPr>
        </p:nvSpPr>
        <p:spPr>
          <a:xfrm>
            <a:off x="3525848" y="4405744"/>
            <a:ext cx="5140303" cy="1258455"/>
          </a:xfrm>
        </p:spPr>
        <p:txBody>
          <a:bodyPr>
            <a:normAutofit/>
          </a:bodyPr>
          <a:lstStyle>
            <a:lvl1pPr marL="0" indent="0" algn="ctr">
              <a:buNone/>
              <a:defRPr sz="1400" b="0">
                <a:solidFill>
                  <a:schemeClr val="bg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endParaRPr lang="en-GB"/>
          </a:p>
        </p:txBody>
      </p:sp>
      <p:sp>
        <p:nvSpPr>
          <p:cNvPr id="23" name="Title 22">
            <a:extLst>
              <a:ext uri="{FF2B5EF4-FFF2-40B4-BE49-F238E27FC236}">
                <a16:creationId xmlns:a16="http://schemas.microsoft.com/office/drawing/2014/main" id="{09E82F87-CF4A-4A93-9472-B0DDD5EDA077}"/>
              </a:ext>
            </a:extLst>
          </p:cNvPr>
          <p:cNvSpPr>
            <a:spLocks noGrp="1"/>
          </p:cNvSpPr>
          <p:nvPr>
            <p:ph type="title" hasCustomPrompt="1"/>
          </p:nvPr>
        </p:nvSpPr>
        <p:spPr>
          <a:xfrm>
            <a:off x="3130550" y="1533237"/>
            <a:ext cx="5930900" cy="2558546"/>
          </a:xfrm>
        </p:spPr>
        <p:txBody>
          <a:bodyPr anchor="b">
            <a:noAutofit/>
          </a:bodyPr>
          <a:lstStyle>
            <a:lvl1pPr algn="ctr">
              <a:defRPr sz="4200">
                <a:solidFill>
                  <a:schemeClr val="bg1"/>
                </a:solidFill>
              </a:defRPr>
            </a:lvl1pPr>
          </a:lstStyle>
          <a:p>
            <a:r>
              <a:rPr lang="en-US"/>
              <a:t>Divider placeholder bit </a:t>
            </a:r>
            <a:r>
              <a:rPr lang="en-US" err="1"/>
              <a:t>odis</a:t>
            </a:r>
            <a:r>
              <a:rPr lang="en-US"/>
              <a:t> re </a:t>
            </a:r>
            <a:r>
              <a:rPr lang="en-US" err="1"/>
              <a:t>pernatiis</a:t>
            </a:r>
            <a:r>
              <a:rPr lang="en-US"/>
              <a:t> </a:t>
            </a:r>
            <a:r>
              <a:rPr lang="en-US" err="1"/>
              <a:t>dundel</a:t>
            </a:r>
            <a:r>
              <a:rPr lang="en-US"/>
              <a:t> </a:t>
            </a:r>
            <a:r>
              <a:rPr lang="en-US" err="1"/>
              <a:t>eatem</a:t>
            </a:r>
            <a:r>
              <a:rPr lang="en-US"/>
              <a:t> </a:t>
            </a:r>
            <a:r>
              <a:rPr lang="en-US" err="1"/>
              <a:t>epsum</a:t>
            </a:r>
            <a:r>
              <a:rPr lang="en-US"/>
              <a:t> </a:t>
            </a:r>
            <a:r>
              <a:rPr lang="en-US" err="1"/>
              <a:t>videntor</a:t>
            </a:r>
            <a:r>
              <a:rPr lang="en-US"/>
              <a:t>.</a:t>
            </a:r>
            <a:endParaRPr lang="en-GB"/>
          </a:p>
        </p:txBody>
      </p:sp>
      <p:pic>
        <p:nvPicPr>
          <p:cNvPr id="9" name="Graphic 8">
            <a:extLst>
              <a:ext uri="{FF2B5EF4-FFF2-40B4-BE49-F238E27FC236}">
                <a16:creationId xmlns:a16="http://schemas.microsoft.com/office/drawing/2014/main" id="{7491E757-5C16-4299-9914-01E37DA4D133}"/>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l="2467"/>
          <a:stretch>
            <a:fillRect/>
          </a:stretch>
        </p:blipFill>
        <p:spPr>
          <a:xfrm>
            <a:off x="0" y="5233935"/>
            <a:ext cx="1055390" cy="1069922"/>
          </a:xfrm>
          <a:custGeom>
            <a:avLst/>
            <a:gdLst>
              <a:gd name="connsiteX0" fmla="*/ 0 w 1055390"/>
              <a:gd name="connsiteY0" fmla="*/ 0 h 1069922"/>
              <a:gd name="connsiteX1" fmla="*/ 1055390 w 1055390"/>
              <a:gd name="connsiteY1" fmla="*/ 0 h 1069922"/>
              <a:gd name="connsiteX2" fmla="*/ 1055390 w 1055390"/>
              <a:gd name="connsiteY2" fmla="*/ 1069922 h 1069922"/>
              <a:gd name="connsiteX3" fmla="*/ 0 w 1055390"/>
              <a:gd name="connsiteY3" fmla="*/ 1069922 h 1069922"/>
            </a:gdLst>
            <a:ahLst/>
            <a:cxnLst>
              <a:cxn ang="0">
                <a:pos x="connsiteX0" y="connsiteY0"/>
              </a:cxn>
              <a:cxn ang="0">
                <a:pos x="connsiteX1" y="connsiteY1"/>
              </a:cxn>
              <a:cxn ang="0">
                <a:pos x="connsiteX2" y="connsiteY2"/>
              </a:cxn>
              <a:cxn ang="0">
                <a:pos x="connsiteX3" y="connsiteY3"/>
              </a:cxn>
            </a:cxnLst>
            <a:rect l="l" t="t" r="r" b="b"/>
            <a:pathLst>
              <a:path w="1055390" h="1069922">
                <a:moveTo>
                  <a:pt x="0" y="0"/>
                </a:moveTo>
                <a:lnTo>
                  <a:pt x="1055390" y="0"/>
                </a:lnTo>
                <a:lnTo>
                  <a:pt x="1055390" y="1069922"/>
                </a:lnTo>
                <a:lnTo>
                  <a:pt x="0" y="1069922"/>
                </a:lnTo>
                <a:close/>
              </a:path>
            </a:pathLst>
          </a:custGeom>
        </p:spPr>
      </p:pic>
    </p:spTree>
    <p:custDataLst>
      <p:tags r:id="rId1"/>
    </p:custDataLst>
    <p:extLst>
      <p:ext uri="{BB962C8B-B14F-4D97-AF65-F5344CB8AC3E}">
        <p14:creationId xmlns:p14="http://schemas.microsoft.com/office/powerpoint/2010/main" val="2641085822"/>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Image Placeholder Center">
    <p:bg>
      <p:bgPr>
        <a:solidFill>
          <a:schemeClr val="tx2"/>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40AE6575-2256-4FEF-96B0-3A079ACBC2EA}"/>
              </a:ext>
            </a:extLst>
          </p:cNvPr>
          <p:cNvSpPr>
            <a:spLocks noGrp="1"/>
          </p:cNvSpPr>
          <p:nvPr>
            <p:ph type="pic" sz="quarter" idx="14" hasCustomPrompt="1"/>
          </p:nvPr>
        </p:nvSpPr>
        <p:spPr>
          <a:xfrm>
            <a:off x="0" y="0"/>
            <a:ext cx="12192000" cy="6858000"/>
          </a:xfrm>
          <a:solidFill>
            <a:srgbClr val="E6E7E8"/>
          </a:solidFill>
        </p:spPr>
        <p:txBody>
          <a:bodyPr/>
          <a:lstStyle>
            <a:lvl1pPr marL="0" indent="0">
              <a:buNone/>
              <a:defRPr/>
            </a:lvl1pPr>
          </a:lstStyle>
          <a:p>
            <a:r>
              <a:rPr lang="en-US"/>
              <a:t> </a:t>
            </a:r>
            <a:endParaRPr lang="en-GB"/>
          </a:p>
        </p:txBody>
      </p:sp>
      <p:sp>
        <p:nvSpPr>
          <p:cNvPr id="3" name="Subtitle 2">
            <a:extLst>
              <a:ext uri="{FF2B5EF4-FFF2-40B4-BE49-F238E27FC236}">
                <a16:creationId xmlns:a16="http://schemas.microsoft.com/office/drawing/2014/main" id="{90374356-2DEE-40D7-A5C3-76BE971FC02F}"/>
              </a:ext>
            </a:extLst>
          </p:cNvPr>
          <p:cNvSpPr>
            <a:spLocks noGrp="1"/>
          </p:cNvSpPr>
          <p:nvPr>
            <p:ph type="subTitle" idx="1" hasCustomPrompt="1"/>
          </p:nvPr>
        </p:nvSpPr>
        <p:spPr>
          <a:xfrm>
            <a:off x="3525848" y="4405744"/>
            <a:ext cx="5140303" cy="1258455"/>
          </a:xfrm>
        </p:spPr>
        <p:txBody>
          <a:bodyPr>
            <a:normAutofit/>
          </a:bodyPr>
          <a:lstStyle>
            <a:lvl1pPr marL="0" indent="0" algn="ctr">
              <a:buNone/>
              <a:defRPr sz="1400" b="0">
                <a:solidFill>
                  <a:schemeClr val="bg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endParaRPr lang="en-GB"/>
          </a:p>
        </p:txBody>
      </p:sp>
      <p:sp>
        <p:nvSpPr>
          <p:cNvPr id="23" name="Title 22">
            <a:extLst>
              <a:ext uri="{FF2B5EF4-FFF2-40B4-BE49-F238E27FC236}">
                <a16:creationId xmlns:a16="http://schemas.microsoft.com/office/drawing/2014/main" id="{09E82F87-CF4A-4A93-9472-B0DDD5EDA077}"/>
              </a:ext>
            </a:extLst>
          </p:cNvPr>
          <p:cNvSpPr>
            <a:spLocks noGrp="1"/>
          </p:cNvSpPr>
          <p:nvPr>
            <p:ph type="title" hasCustomPrompt="1"/>
          </p:nvPr>
        </p:nvSpPr>
        <p:spPr>
          <a:xfrm>
            <a:off x="3130550" y="2766219"/>
            <a:ext cx="5930900" cy="1325563"/>
          </a:xfrm>
        </p:spPr>
        <p:txBody>
          <a:bodyPr anchor="ctr">
            <a:normAutofit/>
          </a:bodyPr>
          <a:lstStyle>
            <a:lvl1pPr algn="ctr">
              <a:defRPr sz="3600">
                <a:solidFill>
                  <a:schemeClr val="bg1"/>
                </a:solidFill>
              </a:defRPr>
            </a:lvl1pPr>
          </a:lstStyle>
          <a:p>
            <a:r>
              <a:rPr lang="en-US"/>
              <a:t>Divider placeholder bit </a:t>
            </a:r>
            <a:r>
              <a:rPr lang="en-US" err="1"/>
              <a:t>odis</a:t>
            </a:r>
            <a:r>
              <a:rPr lang="en-US"/>
              <a:t> re </a:t>
            </a:r>
            <a:r>
              <a:rPr lang="en-US" err="1"/>
              <a:t>pernatiis</a:t>
            </a:r>
            <a:r>
              <a:rPr lang="en-US"/>
              <a:t> </a:t>
            </a:r>
            <a:r>
              <a:rPr lang="en-US" err="1"/>
              <a:t>dundel</a:t>
            </a:r>
            <a:r>
              <a:rPr lang="en-US"/>
              <a:t> </a:t>
            </a:r>
            <a:r>
              <a:rPr lang="en-US" err="1"/>
              <a:t>eatem</a:t>
            </a:r>
            <a:r>
              <a:rPr lang="en-US"/>
              <a:t> </a:t>
            </a:r>
            <a:r>
              <a:rPr lang="en-US" err="1"/>
              <a:t>epsum</a:t>
            </a:r>
            <a:r>
              <a:rPr lang="en-US"/>
              <a:t> </a:t>
            </a:r>
            <a:r>
              <a:rPr lang="en-US" err="1"/>
              <a:t>videntor</a:t>
            </a:r>
            <a:r>
              <a:rPr lang="en-US"/>
              <a:t>.</a:t>
            </a:r>
            <a:endParaRPr lang="en-GB"/>
          </a:p>
        </p:txBody>
      </p:sp>
      <p:sp>
        <p:nvSpPr>
          <p:cNvPr id="6" name="Rectangle 5">
            <a:extLst>
              <a:ext uri="{FF2B5EF4-FFF2-40B4-BE49-F238E27FC236}">
                <a16:creationId xmlns:a16="http://schemas.microsoft.com/office/drawing/2014/main" id="{58CBA591-7F21-4D58-8B14-28E4CC63412E}"/>
              </a:ext>
            </a:extLst>
          </p:cNvPr>
          <p:cNvSpPr/>
          <p:nvPr userDrawn="1"/>
        </p:nvSpPr>
        <p:spPr>
          <a:xfrm>
            <a:off x="-2801257" y="0"/>
            <a:ext cx="2423886" cy="23948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atin typeface="Segoe UI" panose="020B0502040204020203" pitchFamily="34" charset="0"/>
                <a:cs typeface="Segoe UI" panose="020B0502040204020203" pitchFamily="34" charset="0"/>
              </a:rPr>
              <a:t>Move the title to access the placeholder button.</a:t>
            </a:r>
          </a:p>
          <a:p>
            <a:r>
              <a:rPr lang="en-US">
                <a:latin typeface="Segoe UI" panose="020B0502040204020203" pitchFamily="34" charset="0"/>
                <a:cs typeface="Segoe UI" panose="020B0502040204020203" pitchFamily="34" charset="0"/>
              </a:rPr>
              <a:t>Click ‘reset’ in the Home tab of the toolbar once you have replaced the image.</a:t>
            </a:r>
            <a:endParaRPr lang="en-GB">
              <a:latin typeface="Segoe UI" panose="020B0502040204020203" pitchFamily="34" charset="0"/>
              <a:cs typeface="Segoe UI" panose="020B0502040204020203" pitchFamily="34" charset="0"/>
            </a:endParaRPr>
          </a:p>
        </p:txBody>
      </p:sp>
      <p:pic>
        <p:nvPicPr>
          <p:cNvPr id="7" name="Graphic 6">
            <a:extLst>
              <a:ext uri="{FF2B5EF4-FFF2-40B4-BE49-F238E27FC236}">
                <a16:creationId xmlns:a16="http://schemas.microsoft.com/office/drawing/2014/main" id="{FD6F9915-EEA8-4234-A7A8-98CC43949D15}"/>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l="2467"/>
          <a:stretch>
            <a:fillRect/>
          </a:stretch>
        </p:blipFill>
        <p:spPr>
          <a:xfrm>
            <a:off x="0" y="5233935"/>
            <a:ext cx="1055390" cy="1069922"/>
          </a:xfrm>
          <a:custGeom>
            <a:avLst/>
            <a:gdLst>
              <a:gd name="connsiteX0" fmla="*/ 0 w 1055390"/>
              <a:gd name="connsiteY0" fmla="*/ 0 h 1069922"/>
              <a:gd name="connsiteX1" fmla="*/ 1055390 w 1055390"/>
              <a:gd name="connsiteY1" fmla="*/ 0 h 1069922"/>
              <a:gd name="connsiteX2" fmla="*/ 1055390 w 1055390"/>
              <a:gd name="connsiteY2" fmla="*/ 1069922 h 1069922"/>
              <a:gd name="connsiteX3" fmla="*/ 0 w 1055390"/>
              <a:gd name="connsiteY3" fmla="*/ 1069922 h 1069922"/>
            </a:gdLst>
            <a:ahLst/>
            <a:cxnLst>
              <a:cxn ang="0">
                <a:pos x="connsiteX0" y="connsiteY0"/>
              </a:cxn>
              <a:cxn ang="0">
                <a:pos x="connsiteX1" y="connsiteY1"/>
              </a:cxn>
              <a:cxn ang="0">
                <a:pos x="connsiteX2" y="connsiteY2"/>
              </a:cxn>
              <a:cxn ang="0">
                <a:pos x="connsiteX3" y="connsiteY3"/>
              </a:cxn>
            </a:cxnLst>
            <a:rect l="l" t="t" r="r" b="b"/>
            <a:pathLst>
              <a:path w="1055390" h="1069922">
                <a:moveTo>
                  <a:pt x="0" y="0"/>
                </a:moveTo>
                <a:lnTo>
                  <a:pt x="1055390" y="0"/>
                </a:lnTo>
                <a:lnTo>
                  <a:pt x="1055390" y="1069922"/>
                </a:lnTo>
                <a:lnTo>
                  <a:pt x="0" y="1069922"/>
                </a:lnTo>
                <a:close/>
              </a:path>
            </a:pathLst>
          </a:custGeom>
        </p:spPr>
      </p:pic>
    </p:spTree>
    <p:custDataLst>
      <p:tags r:id="rId1"/>
    </p:custDataLst>
    <p:extLst>
      <p:ext uri="{BB962C8B-B14F-4D97-AF65-F5344CB8AC3E}">
        <p14:creationId xmlns:p14="http://schemas.microsoft.com/office/powerpoint/2010/main" val="3026579351"/>
      </p:ext>
    </p:extLst>
  </p:cSld>
  <p:clrMapOvr>
    <a:masterClrMapping/>
  </p:clrMapOvr>
  <p:extLst>
    <p:ext uri="{DCECCB84-F9BA-43D5-87BE-67443E8EF086}">
      <p15:sldGuideLst xmlns:p15="http://schemas.microsoft.com/office/powerpoint/2012/main">
        <p15:guide id="1" orient="horz" pos="2591" userDrawn="1">
          <p15:clr>
            <a:srgbClr val="FBAE40"/>
          </p15:clr>
        </p15:guide>
        <p15:guide id="2" pos="1958" userDrawn="1">
          <p15:clr>
            <a:srgbClr val="FBAE40"/>
          </p15:clr>
        </p15:guide>
        <p15:guide id="3" pos="5722" userDrawn="1">
          <p15:clr>
            <a:srgbClr val="FBAE40"/>
          </p15:clr>
        </p15:guide>
        <p15:guide id="4" orient="horz" pos="172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With Replacable Image Center ">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text, outdoor&#10;&#10;Description automatically generated">
            <a:extLst>
              <a:ext uri="{FF2B5EF4-FFF2-40B4-BE49-F238E27FC236}">
                <a16:creationId xmlns:a16="http://schemas.microsoft.com/office/drawing/2014/main" id="{ED9F2D98-D095-4247-A904-2D44261DAE2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C21AE9E3-DD12-4750-9D4C-EAD2668EF7DD}"/>
              </a:ext>
            </a:extLst>
          </p:cNvPr>
          <p:cNvSpPr>
            <a:spLocks/>
          </p:cNvSpPr>
          <p:nvPr userDrawn="1"/>
        </p:nvSpPr>
        <p:spPr>
          <a:xfrm>
            <a:off x="0" y="0"/>
            <a:ext cx="12192000" cy="6858000"/>
          </a:xfrm>
          <a:prstGeom prst="rect">
            <a:avLst/>
          </a:prstGeom>
          <a:solidFill>
            <a:schemeClr val="tx1">
              <a:lumMod val="5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0"/>
          </a:p>
        </p:txBody>
      </p:sp>
      <p:sp>
        <p:nvSpPr>
          <p:cNvPr id="3" name="Subtitle 2">
            <a:extLst>
              <a:ext uri="{FF2B5EF4-FFF2-40B4-BE49-F238E27FC236}">
                <a16:creationId xmlns:a16="http://schemas.microsoft.com/office/drawing/2014/main" id="{90374356-2DEE-40D7-A5C3-76BE971FC02F}"/>
              </a:ext>
            </a:extLst>
          </p:cNvPr>
          <p:cNvSpPr>
            <a:spLocks noGrp="1"/>
          </p:cNvSpPr>
          <p:nvPr>
            <p:ph type="subTitle" idx="1" hasCustomPrompt="1"/>
          </p:nvPr>
        </p:nvSpPr>
        <p:spPr>
          <a:xfrm>
            <a:off x="3525848" y="4405744"/>
            <a:ext cx="5140303" cy="1258455"/>
          </a:xfrm>
        </p:spPr>
        <p:txBody>
          <a:bodyPr>
            <a:normAutofit/>
          </a:bodyPr>
          <a:lstStyle>
            <a:lvl1pPr marL="0" indent="0" algn="ctr">
              <a:buNone/>
              <a:defRPr sz="1400" b="0">
                <a:solidFill>
                  <a:schemeClr val="bg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endParaRPr lang="en-GB"/>
          </a:p>
        </p:txBody>
      </p:sp>
      <p:sp>
        <p:nvSpPr>
          <p:cNvPr id="23" name="Title 22">
            <a:extLst>
              <a:ext uri="{FF2B5EF4-FFF2-40B4-BE49-F238E27FC236}">
                <a16:creationId xmlns:a16="http://schemas.microsoft.com/office/drawing/2014/main" id="{09E82F87-CF4A-4A93-9472-B0DDD5EDA077}"/>
              </a:ext>
            </a:extLst>
          </p:cNvPr>
          <p:cNvSpPr>
            <a:spLocks noGrp="1"/>
          </p:cNvSpPr>
          <p:nvPr>
            <p:ph type="title" hasCustomPrompt="1"/>
          </p:nvPr>
        </p:nvSpPr>
        <p:spPr>
          <a:xfrm>
            <a:off x="3130550" y="2766219"/>
            <a:ext cx="5930900" cy="1325563"/>
          </a:xfrm>
        </p:spPr>
        <p:txBody>
          <a:bodyPr>
            <a:normAutofit/>
          </a:bodyPr>
          <a:lstStyle>
            <a:lvl1pPr algn="ctr">
              <a:defRPr sz="3600">
                <a:solidFill>
                  <a:schemeClr val="bg1"/>
                </a:solidFill>
              </a:defRPr>
            </a:lvl1pPr>
          </a:lstStyle>
          <a:p>
            <a:r>
              <a:rPr lang="en-US"/>
              <a:t>Divider placeholder bit </a:t>
            </a:r>
            <a:r>
              <a:rPr lang="en-US" err="1"/>
              <a:t>odis</a:t>
            </a:r>
            <a:r>
              <a:rPr lang="en-US"/>
              <a:t> re </a:t>
            </a:r>
            <a:r>
              <a:rPr lang="en-US" err="1"/>
              <a:t>pernatiis</a:t>
            </a:r>
            <a:r>
              <a:rPr lang="en-US"/>
              <a:t> </a:t>
            </a:r>
            <a:r>
              <a:rPr lang="en-US" err="1"/>
              <a:t>dundel</a:t>
            </a:r>
            <a:r>
              <a:rPr lang="en-US"/>
              <a:t> </a:t>
            </a:r>
            <a:r>
              <a:rPr lang="en-US" err="1"/>
              <a:t>eatem</a:t>
            </a:r>
            <a:r>
              <a:rPr lang="en-US"/>
              <a:t> </a:t>
            </a:r>
            <a:r>
              <a:rPr lang="en-US" err="1"/>
              <a:t>epsum</a:t>
            </a:r>
            <a:r>
              <a:rPr lang="en-US"/>
              <a:t> </a:t>
            </a:r>
            <a:r>
              <a:rPr lang="en-US" err="1"/>
              <a:t>videntor</a:t>
            </a:r>
            <a:r>
              <a:rPr lang="en-US"/>
              <a:t>.</a:t>
            </a:r>
            <a:endParaRPr lang="en-GB"/>
          </a:p>
        </p:txBody>
      </p:sp>
      <p:pic>
        <p:nvPicPr>
          <p:cNvPr id="7" name="Graphic 6">
            <a:extLst>
              <a:ext uri="{FF2B5EF4-FFF2-40B4-BE49-F238E27FC236}">
                <a16:creationId xmlns:a16="http://schemas.microsoft.com/office/drawing/2014/main" id="{74E4A2AF-4602-4AD9-8F11-46C7D18346FA}"/>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l="2467"/>
          <a:stretch>
            <a:fillRect/>
          </a:stretch>
        </p:blipFill>
        <p:spPr>
          <a:xfrm>
            <a:off x="0" y="5233935"/>
            <a:ext cx="1055390" cy="1069922"/>
          </a:xfrm>
          <a:custGeom>
            <a:avLst/>
            <a:gdLst>
              <a:gd name="connsiteX0" fmla="*/ 0 w 1055390"/>
              <a:gd name="connsiteY0" fmla="*/ 0 h 1069922"/>
              <a:gd name="connsiteX1" fmla="*/ 1055390 w 1055390"/>
              <a:gd name="connsiteY1" fmla="*/ 0 h 1069922"/>
              <a:gd name="connsiteX2" fmla="*/ 1055390 w 1055390"/>
              <a:gd name="connsiteY2" fmla="*/ 1069922 h 1069922"/>
              <a:gd name="connsiteX3" fmla="*/ 0 w 1055390"/>
              <a:gd name="connsiteY3" fmla="*/ 1069922 h 1069922"/>
            </a:gdLst>
            <a:ahLst/>
            <a:cxnLst>
              <a:cxn ang="0">
                <a:pos x="connsiteX0" y="connsiteY0"/>
              </a:cxn>
              <a:cxn ang="0">
                <a:pos x="connsiteX1" y="connsiteY1"/>
              </a:cxn>
              <a:cxn ang="0">
                <a:pos x="connsiteX2" y="connsiteY2"/>
              </a:cxn>
              <a:cxn ang="0">
                <a:pos x="connsiteX3" y="connsiteY3"/>
              </a:cxn>
            </a:cxnLst>
            <a:rect l="l" t="t" r="r" b="b"/>
            <a:pathLst>
              <a:path w="1055390" h="1069922">
                <a:moveTo>
                  <a:pt x="0" y="0"/>
                </a:moveTo>
                <a:lnTo>
                  <a:pt x="1055390" y="0"/>
                </a:lnTo>
                <a:lnTo>
                  <a:pt x="1055390" y="1069922"/>
                </a:lnTo>
                <a:lnTo>
                  <a:pt x="0" y="1069922"/>
                </a:lnTo>
                <a:close/>
              </a:path>
            </a:pathLst>
          </a:custGeom>
        </p:spPr>
      </p:pic>
    </p:spTree>
    <p:custDataLst>
      <p:tags r:id="rId1"/>
    </p:custDataLst>
    <p:extLst>
      <p:ext uri="{BB962C8B-B14F-4D97-AF65-F5344CB8AC3E}">
        <p14:creationId xmlns:p14="http://schemas.microsoft.com/office/powerpoint/2010/main" val="30883236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genda With Image Placeholder">
    <p:spTree>
      <p:nvGrpSpPr>
        <p:cNvPr id="1" name=""/>
        <p:cNvGrpSpPr/>
        <p:nvPr/>
      </p:nvGrpSpPr>
      <p:grpSpPr>
        <a:xfrm>
          <a:off x="0" y="0"/>
          <a:ext cx="0" cy="0"/>
          <a:chOff x="0" y="0"/>
          <a:chExt cx="0" cy="0"/>
        </a:xfrm>
      </p:grpSpPr>
      <p:sp>
        <p:nvSpPr>
          <p:cNvPr id="92" name="Rectangle: Rounded Corners 91">
            <a:extLst>
              <a:ext uri="{FF2B5EF4-FFF2-40B4-BE49-F238E27FC236}">
                <a16:creationId xmlns:a16="http://schemas.microsoft.com/office/drawing/2014/main" id="{23141CDF-428E-46A1-A234-6BE189F2BA16}"/>
              </a:ext>
            </a:extLst>
          </p:cNvPr>
          <p:cNvSpPr/>
          <p:nvPr userDrawn="1"/>
        </p:nvSpPr>
        <p:spPr>
          <a:xfrm>
            <a:off x="581891" y="1362808"/>
            <a:ext cx="3121890" cy="52753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3" name="Oval 92">
            <a:extLst>
              <a:ext uri="{FF2B5EF4-FFF2-40B4-BE49-F238E27FC236}">
                <a16:creationId xmlns:a16="http://schemas.microsoft.com/office/drawing/2014/main" id="{F446AE26-9057-47F8-B396-851B25C29D67}"/>
              </a:ext>
            </a:extLst>
          </p:cNvPr>
          <p:cNvSpPr>
            <a:spLocks noChangeAspect="1"/>
          </p:cNvSpPr>
          <p:nvPr userDrawn="1"/>
        </p:nvSpPr>
        <p:spPr>
          <a:xfrm>
            <a:off x="3193661" y="1407069"/>
            <a:ext cx="437355" cy="43735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endParaRPr lang="en-IN" b="1">
              <a:solidFill>
                <a:schemeClr val="accent1"/>
              </a:solidFill>
            </a:endParaRPr>
          </a:p>
        </p:txBody>
      </p:sp>
      <p:sp>
        <p:nvSpPr>
          <p:cNvPr id="94" name="Rectangle: Rounded Corners 93">
            <a:extLst>
              <a:ext uri="{FF2B5EF4-FFF2-40B4-BE49-F238E27FC236}">
                <a16:creationId xmlns:a16="http://schemas.microsoft.com/office/drawing/2014/main" id="{E44267D4-C193-48DE-AB39-ECD3332F9EEE}"/>
              </a:ext>
            </a:extLst>
          </p:cNvPr>
          <p:cNvSpPr/>
          <p:nvPr userDrawn="1"/>
        </p:nvSpPr>
        <p:spPr>
          <a:xfrm>
            <a:off x="581891" y="2125218"/>
            <a:ext cx="3121890" cy="52753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5" name="Oval 94">
            <a:extLst>
              <a:ext uri="{FF2B5EF4-FFF2-40B4-BE49-F238E27FC236}">
                <a16:creationId xmlns:a16="http://schemas.microsoft.com/office/drawing/2014/main" id="{A5ED4910-FCC4-47CF-BEC0-21F5A376EB94}"/>
              </a:ext>
            </a:extLst>
          </p:cNvPr>
          <p:cNvSpPr>
            <a:spLocks noChangeAspect="1"/>
          </p:cNvSpPr>
          <p:nvPr userDrawn="1"/>
        </p:nvSpPr>
        <p:spPr>
          <a:xfrm>
            <a:off x="3193661" y="2169479"/>
            <a:ext cx="437355" cy="43735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endParaRPr lang="en-IN" b="1">
              <a:solidFill>
                <a:schemeClr val="accent1"/>
              </a:solidFill>
            </a:endParaRPr>
          </a:p>
        </p:txBody>
      </p:sp>
      <p:sp>
        <p:nvSpPr>
          <p:cNvPr id="96" name="Rectangle: Rounded Corners 95">
            <a:extLst>
              <a:ext uri="{FF2B5EF4-FFF2-40B4-BE49-F238E27FC236}">
                <a16:creationId xmlns:a16="http://schemas.microsoft.com/office/drawing/2014/main" id="{39F02E8A-3FF4-4C79-B392-4254FD00078C}"/>
              </a:ext>
            </a:extLst>
          </p:cNvPr>
          <p:cNvSpPr/>
          <p:nvPr userDrawn="1"/>
        </p:nvSpPr>
        <p:spPr>
          <a:xfrm>
            <a:off x="581891" y="2887628"/>
            <a:ext cx="3121890" cy="52753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7" name="Oval 96">
            <a:extLst>
              <a:ext uri="{FF2B5EF4-FFF2-40B4-BE49-F238E27FC236}">
                <a16:creationId xmlns:a16="http://schemas.microsoft.com/office/drawing/2014/main" id="{FA540234-A0C0-4D12-BA58-936916102F84}"/>
              </a:ext>
            </a:extLst>
          </p:cNvPr>
          <p:cNvSpPr>
            <a:spLocks noChangeAspect="1"/>
          </p:cNvSpPr>
          <p:nvPr userDrawn="1"/>
        </p:nvSpPr>
        <p:spPr>
          <a:xfrm>
            <a:off x="3193661" y="2931889"/>
            <a:ext cx="437355" cy="43735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endParaRPr lang="en-IN" b="1">
              <a:solidFill>
                <a:schemeClr val="accent1"/>
              </a:solidFill>
            </a:endParaRPr>
          </a:p>
        </p:txBody>
      </p:sp>
      <p:sp>
        <p:nvSpPr>
          <p:cNvPr id="98" name="Rectangle: Rounded Corners 97">
            <a:extLst>
              <a:ext uri="{FF2B5EF4-FFF2-40B4-BE49-F238E27FC236}">
                <a16:creationId xmlns:a16="http://schemas.microsoft.com/office/drawing/2014/main" id="{D2CB09F2-F28C-47CA-B06C-532AE89E1A39}"/>
              </a:ext>
            </a:extLst>
          </p:cNvPr>
          <p:cNvSpPr/>
          <p:nvPr userDrawn="1"/>
        </p:nvSpPr>
        <p:spPr>
          <a:xfrm>
            <a:off x="581891" y="3650038"/>
            <a:ext cx="3121890" cy="52753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9" name="Oval 98">
            <a:extLst>
              <a:ext uri="{FF2B5EF4-FFF2-40B4-BE49-F238E27FC236}">
                <a16:creationId xmlns:a16="http://schemas.microsoft.com/office/drawing/2014/main" id="{E5BECEC4-2D1E-4F3F-ADFC-5CE4CA99A237}"/>
              </a:ext>
            </a:extLst>
          </p:cNvPr>
          <p:cNvSpPr>
            <a:spLocks noChangeAspect="1"/>
          </p:cNvSpPr>
          <p:nvPr userDrawn="1"/>
        </p:nvSpPr>
        <p:spPr>
          <a:xfrm>
            <a:off x="3193661" y="3694299"/>
            <a:ext cx="437355" cy="43735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endParaRPr lang="en-IN" b="1">
              <a:solidFill>
                <a:schemeClr val="accent1"/>
              </a:solidFill>
            </a:endParaRPr>
          </a:p>
        </p:txBody>
      </p:sp>
      <p:sp>
        <p:nvSpPr>
          <p:cNvPr id="100" name="Rectangle: Rounded Corners 99">
            <a:extLst>
              <a:ext uri="{FF2B5EF4-FFF2-40B4-BE49-F238E27FC236}">
                <a16:creationId xmlns:a16="http://schemas.microsoft.com/office/drawing/2014/main" id="{6B02E990-A863-4176-A8B3-C846690A0074}"/>
              </a:ext>
            </a:extLst>
          </p:cNvPr>
          <p:cNvSpPr/>
          <p:nvPr userDrawn="1"/>
        </p:nvSpPr>
        <p:spPr>
          <a:xfrm>
            <a:off x="581891" y="4412448"/>
            <a:ext cx="3121890" cy="52753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1" name="Oval 100">
            <a:extLst>
              <a:ext uri="{FF2B5EF4-FFF2-40B4-BE49-F238E27FC236}">
                <a16:creationId xmlns:a16="http://schemas.microsoft.com/office/drawing/2014/main" id="{60E5658B-DB04-443F-A4F7-7997C56D0CDC}"/>
              </a:ext>
            </a:extLst>
          </p:cNvPr>
          <p:cNvSpPr>
            <a:spLocks noChangeAspect="1"/>
          </p:cNvSpPr>
          <p:nvPr userDrawn="1"/>
        </p:nvSpPr>
        <p:spPr>
          <a:xfrm>
            <a:off x="3193661" y="4456709"/>
            <a:ext cx="437355" cy="43735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endParaRPr lang="en-IN" b="1">
              <a:solidFill>
                <a:schemeClr val="accent1"/>
              </a:solidFill>
            </a:endParaRPr>
          </a:p>
        </p:txBody>
      </p:sp>
      <p:sp>
        <p:nvSpPr>
          <p:cNvPr id="102" name="Rectangle: Rounded Corners 101">
            <a:extLst>
              <a:ext uri="{FF2B5EF4-FFF2-40B4-BE49-F238E27FC236}">
                <a16:creationId xmlns:a16="http://schemas.microsoft.com/office/drawing/2014/main" id="{23A66046-4D0E-4A59-ACD0-20B2B7C2B3B5}"/>
              </a:ext>
            </a:extLst>
          </p:cNvPr>
          <p:cNvSpPr/>
          <p:nvPr userDrawn="1"/>
        </p:nvSpPr>
        <p:spPr>
          <a:xfrm>
            <a:off x="581891" y="5174858"/>
            <a:ext cx="3121890" cy="52753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3" name="Oval 102">
            <a:extLst>
              <a:ext uri="{FF2B5EF4-FFF2-40B4-BE49-F238E27FC236}">
                <a16:creationId xmlns:a16="http://schemas.microsoft.com/office/drawing/2014/main" id="{6F3026E8-D78B-4ABD-8751-FE9519BAB4EC}"/>
              </a:ext>
            </a:extLst>
          </p:cNvPr>
          <p:cNvSpPr>
            <a:spLocks noChangeAspect="1"/>
          </p:cNvSpPr>
          <p:nvPr userDrawn="1"/>
        </p:nvSpPr>
        <p:spPr>
          <a:xfrm>
            <a:off x="3193661" y="5219119"/>
            <a:ext cx="437355" cy="43735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endParaRPr lang="en-IN" b="1">
              <a:solidFill>
                <a:schemeClr val="accent1"/>
              </a:solidFill>
            </a:endParaRPr>
          </a:p>
        </p:txBody>
      </p:sp>
      <p:sp>
        <p:nvSpPr>
          <p:cNvPr id="104" name="Rectangle: Rounded Corners 103">
            <a:extLst>
              <a:ext uri="{FF2B5EF4-FFF2-40B4-BE49-F238E27FC236}">
                <a16:creationId xmlns:a16="http://schemas.microsoft.com/office/drawing/2014/main" id="{77EE950B-6721-443E-B53C-15BFBAA6FFEE}"/>
              </a:ext>
            </a:extLst>
          </p:cNvPr>
          <p:cNvSpPr/>
          <p:nvPr userDrawn="1"/>
        </p:nvSpPr>
        <p:spPr>
          <a:xfrm>
            <a:off x="581891" y="5937270"/>
            <a:ext cx="3121890" cy="52753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5" name="Oval 104">
            <a:extLst>
              <a:ext uri="{FF2B5EF4-FFF2-40B4-BE49-F238E27FC236}">
                <a16:creationId xmlns:a16="http://schemas.microsoft.com/office/drawing/2014/main" id="{4A11CFA9-D301-466F-9BD0-7F10B4A9E266}"/>
              </a:ext>
            </a:extLst>
          </p:cNvPr>
          <p:cNvSpPr>
            <a:spLocks noChangeAspect="1"/>
          </p:cNvSpPr>
          <p:nvPr userDrawn="1"/>
        </p:nvSpPr>
        <p:spPr>
          <a:xfrm>
            <a:off x="3193661" y="5981531"/>
            <a:ext cx="437355" cy="43735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endParaRPr lang="en-IN" b="1">
              <a:solidFill>
                <a:schemeClr val="accent1"/>
              </a:solidFill>
            </a:endParaRPr>
          </a:p>
        </p:txBody>
      </p:sp>
      <p:graphicFrame>
        <p:nvGraphicFramePr>
          <p:cNvPr id="3" name="Object 2" hidden="1">
            <a:extLst>
              <a:ext uri="{FF2B5EF4-FFF2-40B4-BE49-F238E27FC236}">
                <a16:creationId xmlns:a16="http://schemas.microsoft.com/office/drawing/2014/main" id="{7324265F-DDA5-40FD-AC21-37F069822335}"/>
              </a:ext>
            </a:extLst>
          </p:cNvPr>
          <p:cNvGraphicFramePr>
            <a:graphicFrameLocks noChangeAspect="1"/>
          </p:cNvGraphicFramePr>
          <p:nvPr userDrawn="1">
            <p:custDataLst>
              <p:tags r:id="rId2"/>
            </p:custDataLst>
            <p:extLst>
              <p:ext uri="{D42A27DB-BD31-4B8C-83A1-F6EECF244321}">
                <p14:modId xmlns:p14="http://schemas.microsoft.com/office/powerpoint/2010/main" val="3567407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id="{7324265F-DDA5-40FD-AC21-37F0698223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4443F72-AD09-4CCC-AC53-720EB504255C}"/>
              </a:ext>
            </a:extLst>
          </p:cNvPr>
          <p:cNvSpPr>
            <a:spLocks noGrp="1"/>
          </p:cNvSpPr>
          <p:nvPr userDrawn="1">
            <p:ph type="title" hasCustomPrompt="1"/>
          </p:nvPr>
        </p:nvSpPr>
        <p:spPr>
          <a:xfrm>
            <a:off x="587376" y="393192"/>
            <a:ext cx="10980737" cy="548640"/>
          </a:xfrm>
        </p:spPr>
        <p:txBody>
          <a:bodyPr vert="horz" anchor="ctr" anchorCtr="0"/>
          <a:lstStyle>
            <a:lvl1pPr>
              <a:defRPr>
                <a:solidFill>
                  <a:schemeClr val="accent1"/>
                </a:solidFill>
              </a:defRPr>
            </a:lvl1pPr>
          </a:lstStyle>
          <a:p>
            <a:r>
              <a:rPr lang="en-US"/>
              <a:t>Agenda</a:t>
            </a:r>
            <a:endParaRPr lang="en-GB"/>
          </a:p>
        </p:txBody>
      </p:sp>
      <p:sp>
        <p:nvSpPr>
          <p:cNvPr id="23" name="Text Placeholder 8">
            <a:extLst>
              <a:ext uri="{FF2B5EF4-FFF2-40B4-BE49-F238E27FC236}">
                <a16:creationId xmlns:a16="http://schemas.microsoft.com/office/drawing/2014/main" id="{131F6BD0-DB61-4B94-9143-AC82D733D9CB}"/>
              </a:ext>
            </a:extLst>
          </p:cNvPr>
          <p:cNvSpPr>
            <a:spLocks noGrp="1"/>
          </p:cNvSpPr>
          <p:nvPr userDrawn="1">
            <p:ph type="body" sz="quarter" idx="14" hasCustomPrompt="1"/>
          </p:nvPr>
        </p:nvSpPr>
        <p:spPr>
          <a:xfrm>
            <a:off x="830118" y="1471129"/>
            <a:ext cx="2143663" cy="310896"/>
          </a:xfrm>
        </p:spPr>
        <p:txBody>
          <a:bodyPr wrap="square" anchor="ctr" anchorCtr="0">
            <a:noAutofit/>
          </a:bodyPr>
          <a:lstStyle>
            <a:lvl1pPr marL="0" indent="0">
              <a:buNone/>
              <a:defRPr sz="1400" b="1">
                <a:solidFill>
                  <a:schemeClr val="bg1"/>
                </a:solidFill>
              </a:defRPr>
            </a:lvl1pPr>
          </a:lstStyle>
          <a:p>
            <a:pPr lvl="0"/>
            <a:r>
              <a:rPr lang="en-GB"/>
              <a:t>Agenda</a:t>
            </a:r>
          </a:p>
        </p:txBody>
      </p:sp>
      <p:sp>
        <p:nvSpPr>
          <p:cNvPr id="24" name="Text Placeholder 8">
            <a:extLst>
              <a:ext uri="{FF2B5EF4-FFF2-40B4-BE49-F238E27FC236}">
                <a16:creationId xmlns:a16="http://schemas.microsoft.com/office/drawing/2014/main" id="{B4BCE1B9-2C80-43A4-9A44-47F3591C5560}"/>
              </a:ext>
            </a:extLst>
          </p:cNvPr>
          <p:cNvSpPr>
            <a:spLocks noGrp="1"/>
          </p:cNvSpPr>
          <p:nvPr userDrawn="1">
            <p:ph type="body" sz="quarter" idx="15" hasCustomPrompt="1"/>
          </p:nvPr>
        </p:nvSpPr>
        <p:spPr>
          <a:xfrm>
            <a:off x="3962400" y="1472689"/>
            <a:ext cx="7605713" cy="307777"/>
          </a:xfrm>
        </p:spPr>
        <p:txBody>
          <a:bodyPr wrap="square" anchor="ctr" anchorCtr="0">
            <a:noAutofit/>
          </a:bodyPr>
          <a:lstStyle>
            <a:lvl1pPr marL="228600" indent="-228600">
              <a:buClr>
                <a:srgbClr val="E0044E"/>
              </a:buClr>
              <a:buSzPct val="130000"/>
              <a:buFont typeface="Arial" panose="020B0604020202020204" pitchFamily="34" charset="0"/>
              <a:buChar char="•"/>
              <a:defRPr sz="1400">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piscing</a:t>
            </a:r>
            <a:r>
              <a:rPr lang="en-GB"/>
              <a:t> </a:t>
            </a:r>
          </a:p>
        </p:txBody>
      </p:sp>
      <p:sp>
        <p:nvSpPr>
          <p:cNvPr id="25" name="Text Placeholder 8">
            <a:extLst>
              <a:ext uri="{FF2B5EF4-FFF2-40B4-BE49-F238E27FC236}">
                <a16:creationId xmlns:a16="http://schemas.microsoft.com/office/drawing/2014/main" id="{B03923D2-71F4-490C-9FC2-F2AF5F82059D}"/>
              </a:ext>
            </a:extLst>
          </p:cNvPr>
          <p:cNvSpPr>
            <a:spLocks noGrp="1"/>
          </p:cNvSpPr>
          <p:nvPr userDrawn="1">
            <p:ph type="body" sz="quarter" idx="16" hasCustomPrompt="1"/>
          </p:nvPr>
        </p:nvSpPr>
        <p:spPr>
          <a:xfrm>
            <a:off x="830118" y="2233539"/>
            <a:ext cx="2143663" cy="310896"/>
          </a:xfrm>
        </p:spPr>
        <p:txBody>
          <a:bodyPr wrap="square" anchor="ctr" anchorCtr="0">
            <a:noAutofit/>
          </a:bodyPr>
          <a:lstStyle>
            <a:lvl1pPr marL="0" indent="0">
              <a:buNone/>
              <a:defRPr sz="1400" b="1">
                <a:solidFill>
                  <a:schemeClr val="bg1"/>
                </a:solidFill>
              </a:defRPr>
            </a:lvl1pPr>
          </a:lstStyle>
          <a:p>
            <a:pPr lvl="0"/>
            <a:r>
              <a:rPr lang="en-GB"/>
              <a:t>Agenda</a:t>
            </a:r>
          </a:p>
        </p:txBody>
      </p:sp>
      <p:sp>
        <p:nvSpPr>
          <p:cNvPr id="26" name="Text Placeholder 8">
            <a:extLst>
              <a:ext uri="{FF2B5EF4-FFF2-40B4-BE49-F238E27FC236}">
                <a16:creationId xmlns:a16="http://schemas.microsoft.com/office/drawing/2014/main" id="{197564AC-4894-4054-9465-9FC9F4AAE2AA}"/>
              </a:ext>
            </a:extLst>
          </p:cNvPr>
          <p:cNvSpPr>
            <a:spLocks noGrp="1"/>
          </p:cNvSpPr>
          <p:nvPr userDrawn="1">
            <p:ph type="body" sz="quarter" idx="17" hasCustomPrompt="1"/>
          </p:nvPr>
        </p:nvSpPr>
        <p:spPr>
          <a:xfrm>
            <a:off x="3962400" y="2235099"/>
            <a:ext cx="7605713" cy="307777"/>
          </a:xfrm>
        </p:spPr>
        <p:txBody>
          <a:bodyPr wrap="square" anchor="ctr" anchorCtr="0">
            <a:noAutofit/>
          </a:bodyPr>
          <a:lstStyle>
            <a:lvl1pPr marL="228600" indent="-228600">
              <a:buClr>
                <a:srgbClr val="E0044E"/>
              </a:buClr>
              <a:buSzPct val="130000"/>
              <a:buFont typeface="Arial" panose="020B0604020202020204" pitchFamily="34" charset="0"/>
              <a:buChar char="•"/>
              <a:defRPr sz="1400">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piscing</a:t>
            </a:r>
            <a:r>
              <a:rPr lang="en-GB"/>
              <a:t> </a:t>
            </a:r>
          </a:p>
        </p:txBody>
      </p:sp>
      <p:sp>
        <p:nvSpPr>
          <p:cNvPr id="27" name="Text Placeholder 8">
            <a:extLst>
              <a:ext uri="{FF2B5EF4-FFF2-40B4-BE49-F238E27FC236}">
                <a16:creationId xmlns:a16="http://schemas.microsoft.com/office/drawing/2014/main" id="{C81F1969-F964-46AB-B4A6-57344F563978}"/>
              </a:ext>
            </a:extLst>
          </p:cNvPr>
          <p:cNvSpPr>
            <a:spLocks noGrp="1"/>
          </p:cNvSpPr>
          <p:nvPr userDrawn="1">
            <p:ph type="body" sz="quarter" idx="18" hasCustomPrompt="1"/>
          </p:nvPr>
        </p:nvSpPr>
        <p:spPr>
          <a:xfrm>
            <a:off x="830118" y="2995949"/>
            <a:ext cx="2143663" cy="310896"/>
          </a:xfrm>
        </p:spPr>
        <p:txBody>
          <a:bodyPr wrap="square" anchor="ctr" anchorCtr="0">
            <a:noAutofit/>
          </a:bodyPr>
          <a:lstStyle>
            <a:lvl1pPr marL="0" indent="0">
              <a:buNone/>
              <a:defRPr sz="1400" b="1">
                <a:solidFill>
                  <a:schemeClr val="bg1"/>
                </a:solidFill>
              </a:defRPr>
            </a:lvl1pPr>
          </a:lstStyle>
          <a:p>
            <a:pPr lvl="0"/>
            <a:r>
              <a:rPr lang="en-GB"/>
              <a:t>Agenda</a:t>
            </a:r>
          </a:p>
        </p:txBody>
      </p:sp>
      <p:sp>
        <p:nvSpPr>
          <p:cNvPr id="28" name="Text Placeholder 8">
            <a:extLst>
              <a:ext uri="{FF2B5EF4-FFF2-40B4-BE49-F238E27FC236}">
                <a16:creationId xmlns:a16="http://schemas.microsoft.com/office/drawing/2014/main" id="{068485B0-633D-4D35-945E-5D6F14E73138}"/>
              </a:ext>
            </a:extLst>
          </p:cNvPr>
          <p:cNvSpPr>
            <a:spLocks noGrp="1"/>
          </p:cNvSpPr>
          <p:nvPr userDrawn="1">
            <p:ph type="body" sz="quarter" idx="19" hasCustomPrompt="1"/>
          </p:nvPr>
        </p:nvSpPr>
        <p:spPr>
          <a:xfrm>
            <a:off x="3962400" y="2997509"/>
            <a:ext cx="7605713" cy="307777"/>
          </a:xfrm>
        </p:spPr>
        <p:txBody>
          <a:bodyPr wrap="square" anchor="ctr" anchorCtr="0">
            <a:noAutofit/>
          </a:bodyPr>
          <a:lstStyle>
            <a:lvl1pPr marL="228600" indent="-228600">
              <a:buClr>
                <a:srgbClr val="E0044E"/>
              </a:buClr>
              <a:buSzPct val="130000"/>
              <a:buFont typeface="Arial" panose="020B0604020202020204" pitchFamily="34" charset="0"/>
              <a:buChar char="•"/>
              <a:defRPr sz="1400">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piscing</a:t>
            </a:r>
            <a:r>
              <a:rPr lang="en-GB"/>
              <a:t> </a:t>
            </a:r>
          </a:p>
        </p:txBody>
      </p:sp>
      <p:sp>
        <p:nvSpPr>
          <p:cNvPr id="29" name="Text Placeholder 8">
            <a:extLst>
              <a:ext uri="{FF2B5EF4-FFF2-40B4-BE49-F238E27FC236}">
                <a16:creationId xmlns:a16="http://schemas.microsoft.com/office/drawing/2014/main" id="{85D80240-790D-4773-B23D-A7EA7F8D96E3}"/>
              </a:ext>
            </a:extLst>
          </p:cNvPr>
          <p:cNvSpPr>
            <a:spLocks noGrp="1"/>
          </p:cNvSpPr>
          <p:nvPr userDrawn="1">
            <p:ph type="body" sz="quarter" idx="20" hasCustomPrompt="1"/>
          </p:nvPr>
        </p:nvSpPr>
        <p:spPr>
          <a:xfrm>
            <a:off x="830118" y="3758359"/>
            <a:ext cx="2143663" cy="310896"/>
          </a:xfrm>
        </p:spPr>
        <p:txBody>
          <a:bodyPr wrap="square" anchor="ctr" anchorCtr="0">
            <a:noAutofit/>
          </a:bodyPr>
          <a:lstStyle>
            <a:lvl1pPr marL="0" indent="0">
              <a:buNone/>
              <a:defRPr sz="1400" b="1">
                <a:solidFill>
                  <a:schemeClr val="bg1"/>
                </a:solidFill>
              </a:defRPr>
            </a:lvl1pPr>
          </a:lstStyle>
          <a:p>
            <a:pPr lvl="0"/>
            <a:r>
              <a:rPr lang="en-GB"/>
              <a:t>Agenda</a:t>
            </a:r>
          </a:p>
        </p:txBody>
      </p:sp>
      <p:sp>
        <p:nvSpPr>
          <p:cNvPr id="30" name="Text Placeholder 8">
            <a:extLst>
              <a:ext uri="{FF2B5EF4-FFF2-40B4-BE49-F238E27FC236}">
                <a16:creationId xmlns:a16="http://schemas.microsoft.com/office/drawing/2014/main" id="{8B825758-9B67-4B8E-AA18-5ED01EB11180}"/>
              </a:ext>
            </a:extLst>
          </p:cNvPr>
          <p:cNvSpPr>
            <a:spLocks noGrp="1"/>
          </p:cNvSpPr>
          <p:nvPr userDrawn="1">
            <p:ph type="body" sz="quarter" idx="21" hasCustomPrompt="1"/>
          </p:nvPr>
        </p:nvSpPr>
        <p:spPr>
          <a:xfrm>
            <a:off x="3962400" y="3759919"/>
            <a:ext cx="7605713" cy="307777"/>
          </a:xfrm>
        </p:spPr>
        <p:txBody>
          <a:bodyPr wrap="square" anchor="ctr" anchorCtr="0">
            <a:noAutofit/>
          </a:bodyPr>
          <a:lstStyle>
            <a:lvl1pPr marL="228600" indent="-228600">
              <a:buClr>
                <a:srgbClr val="E0044E"/>
              </a:buClr>
              <a:buSzPct val="130000"/>
              <a:buFont typeface="Arial" panose="020B0604020202020204" pitchFamily="34" charset="0"/>
              <a:buChar char="•"/>
              <a:defRPr sz="1400">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piscing</a:t>
            </a:r>
            <a:r>
              <a:rPr lang="en-GB"/>
              <a:t> </a:t>
            </a:r>
          </a:p>
        </p:txBody>
      </p:sp>
      <p:sp>
        <p:nvSpPr>
          <p:cNvPr id="31" name="Text Placeholder 8">
            <a:extLst>
              <a:ext uri="{FF2B5EF4-FFF2-40B4-BE49-F238E27FC236}">
                <a16:creationId xmlns:a16="http://schemas.microsoft.com/office/drawing/2014/main" id="{6ADA32FF-5DD1-440F-9862-F57F0977E4C2}"/>
              </a:ext>
            </a:extLst>
          </p:cNvPr>
          <p:cNvSpPr>
            <a:spLocks noGrp="1"/>
          </p:cNvSpPr>
          <p:nvPr userDrawn="1">
            <p:ph type="body" sz="quarter" idx="22" hasCustomPrompt="1"/>
          </p:nvPr>
        </p:nvSpPr>
        <p:spPr>
          <a:xfrm>
            <a:off x="830118" y="4520769"/>
            <a:ext cx="2143663" cy="310896"/>
          </a:xfrm>
        </p:spPr>
        <p:txBody>
          <a:bodyPr wrap="square" anchor="ctr" anchorCtr="0">
            <a:noAutofit/>
          </a:bodyPr>
          <a:lstStyle>
            <a:lvl1pPr marL="0" indent="0">
              <a:buNone/>
              <a:defRPr sz="1400" b="1">
                <a:solidFill>
                  <a:schemeClr val="bg1"/>
                </a:solidFill>
              </a:defRPr>
            </a:lvl1pPr>
          </a:lstStyle>
          <a:p>
            <a:pPr lvl="0"/>
            <a:r>
              <a:rPr lang="en-GB"/>
              <a:t>Agenda</a:t>
            </a:r>
          </a:p>
        </p:txBody>
      </p:sp>
      <p:sp>
        <p:nvSpPr>
          <p:cNvPr id="32" name="Text Placeholder 8">
            <a:extLst>
              <a:ext uri="{FF2B5EF4-FFF2-40B4-BE49-F238E27FC236}">
                <a16:creationId xmlns:a16="http://schemas.microsoft.com/office/drawing/2014/main" id="{1482C837-C920-4F1A-9714-41564E611D1A}"/>
              </a:ext>
            </a:extLst>
          </p:cNvPr>
          <p:cNvSpPr>
            <a:spLocks noGrp="1"/>
          </p:cNvSpPr>
          <p:nvPr userDrawn="1">
            <p:ph type="body" sz="quarter" idx="23" hasCustomPrompt="1"/>
          </p:nvPr>
        </p:nvSpPr>
        <p:spPr>
          <a:xfrm>
            <a:off x="3962400" y="4522329"/>
            <a:ext cx="7605713" cy="307777"/>
          </a:xfrm>
        </p:spPr>
        <p:txBody>
          <a:bodyPr wrap="square" anchor="ctr" anchorCtr="0">
            <a:noAutofit/>
          </a:bodyPr>
          <a:lstStyle>
            <a:lvl1pPr marL="228600" indent="-228600">
              <a:buClr>
                <a:srgbClr val="E0044E"/>
              </a:buClr>
              <a:buSzPct val="130000"/>
              <a:buFont typeface="Arial" panose="020B0604020202020204" pitchFamily="34" charset="0"/>
              <a:buChar char="•"/>
              <a:defRPr sz="1400">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piscing</a:t>
            </a:r>
            <a:r>
              <a:rPr lang="en-GB"/>
              <a:t> </a:t>
            </a:r>
          </a:p>
        </p:txBody>
      </p:sp>
      <p:sp>
        <p:nvSpPr>
          <p:cNvPr id="33" name="Text Placeholder 8">
            <a:extLst>
              <a:ext uri="{FF2B5EF4-FFF2-40B4-BE49-F238E27FC236}">
                <a16:creationId xmlns:a16="http://schemas.microsoft.com/office/drawing/2014/main" id="{EEF4B0F2-63F7-42DC-801E-8340C8930F98}"/>
              </a:ext>
            </a:extLst>
          </p:cNvPr>
          <p:cNvSpPr>
            <a:spLocks noGrp="1"/>
          </p:cNvSpPr>
          <p:nvPr userDrawn="1">
            <p:ph type="body" sz="quarter" idx="24" hasCustomPrompt="1"/>
          </p:nvPr>
        </p:nvSpPr>
        <p:spPr>
          <a:xfrm>
            <a:off x="830118" y="5283179"/>
            <a:ext cx="2143663" cy="310896"/>
          </a:xfrm>
        </p:spPr>
        <p:txBody>
          <a:bodyPr wrap="square" anchor="ctr" anchorCtr="0">
            <a:noAutofit/>
          </a:bodyPr>
          <a:lstStyle>
            <a:lvl1pPr marL="0" indent="0">
              <a:buNone/>
              <a:defRPr sz="1400" b="1">
                <a:solidFill>
                  <a:schemeClr val="bg1"/>
                </a:solidFill>
              </a:defRPr>
            </a:lvl1pPr>
          </a:lstStyle>
          <a:p>
            <a:pPr lvl="0"/>
            <a:r>
              <a:rPr lang="en-GB"/>
              <a:t>Agenda</a:t>
            </a:r>
          </a:p>
        </p:txBody>
      </p:sp>
      <p:sp>
        <p:nvSpPr>
          <p:cNvPr id="34" name="Text Placeholder 8">
            <a:extLst>
              <a:ext uri="{FF2B5EF4-FFF2-40B4-BE49-F238E27FC236}">
                <a16:creationId xmlns:a16="http://schemas.microsoft.com/office/drawing/2014/main" id="{8B6FD06F-1A04-4907-9186-3DB356AEF075}"/>
              </a:ext>
            </a:extLst>
          </p:cNvPr>
          <p:cNvSpPr>
            <a:spLocks noGrp="1"/>
          </p:cNvSpPr>
          <p:nvPr userDrawn="1">
            <p:ph type="body" sz="quarter" idx="25" hasCustomPrompt="1"/>
          </p:nvPr>
        </p:nvSpPr>
        <p:spPr>
          <a:xfrm>
            <a:off x="3962400" y="5284739"/>
            <a:ext cx="7605713" cy="307777"/>
          </a:xfrm>
        </p:spPr>
        <p:txBody>
          <a:bodyPr wrap="square" anchor="ctr" anchorCtr="0">
            <a:noAutofit/>
          </a:bodyPr>
          <a:lstStyle>
            <a:lvl1pPr marL="228600" indent="-228600">
              <a:buClr>
                <a:srgbClr val="E0044E"/>
              </a:buClr>
              <a:buSzPct val="130000"/>
              <a:buFont typeface="Arial" panose="020B0604020202020204" pitchFamily="34" charset="0"/>
              <a:buChar char="•"/>
              <a:defRPr sz="1400">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piscing</a:t>
            </a:r>
            <a:r>
              <a:rPr lang="en-GB"/>
              <a:t> </a:t>
            </a:r>
          </a:p>
        </p:txBody>
      </p:sp>
      <p:sp>
        <p:nvSpPr>
          <p:cNvPr id="35" name="Text Placeholder 8">
            <a:extLst>
              <a:ext uri="{FF2B5EF4-FFF2-40B4-BE49-F238E27FC236}">
                <a16:creationId xmlns:a16="http://schemas.microsoft.com/office/drawing/2014/main" id="{B8B58469-8BC3-4FAC-B458-BDDAE4DB26DA}"/>
              </a:ext>
            </a:extLst>
          </p:cNvPr>
          <p:cNvSpPr>
            <a:spLocks noGrp="1"/>
          </p:cNvSpPr>
          <p:nvPr userDrawn="1">
            <p:ph type="body" sz="quarter" idx="26" hasCustomPrompt="1"/>
          </p:nvPr>
        </p:nvSpPr>
        <p:spPr>
          <a:xfrm>
            <a:off x="830118" y="6045591"/>
            <a:ext cx="2143663" cy="310896"/>
          </a:xfrm>
        </p:spPr>
        <p:txBody>
          <a:bodyPr wrap="square" anchor="ctr" anchorCtr="0">
            <a:noAutofit/>
          </a:bodyPr>
          <a:lstStyle>
            <a:lvl1pPr marL="0" indent="0">
              <a:buNone/>
              <a:defRPr sz="1400" b="1">
                <a:solidFill>
                  <a:schemeClr val="bg1"/>
                </a:solidFill>
              </a:defRPr>
            </a:lvl1pPr>
          </a:lstStyle>
          <a:p>
            <a:pPr lvl="0"/>
            <a:r>
              <a:rPr lang="en-GB"/>
              <a:t>Agenda</a:t>
            </a:r>
          </a:p>
        </p:txBody>
      </p:sp>
      <p:sp>
        <p:nvSpPr>
          <p:cNvPr id="36" name="Text Placeholder 8">
            <a:extLst>
              <a:ext uri="{FF2B5EF4-FFF2-40B4-BE49-F238E27FC236}">
                <a16:creationId xmlns:a16="http://schemas.microsoft.com/office/drawing/2014/main" id="{94934ACF-8B27-4126-B8CB-A23B2DBEC7F0}"/>
              </a:ext>
            </a:extLst>
          </p:cNvPr>
          <p:cNvSpPr>
            <a:spLocks noGrp="1"/>
          </p:cNvSpPr>
          <p:nvPr userDrawn="1">
            <p:ph type="body" sz="quarter" idx="27" hasCustomPrompt="1"/>
          </p:nvPr>
        </p:nvSpPr>
        <p:spPr>
          <a:xfrm>
            <a:off x="3962400" y="6047151"/>
            <a:ext cx="7605713" cy="307777"/>
          </a:xfrm>
        </p:spPr>
        <p:txBody>
          <a:bodyPr wrap="square" anchor="ctr" anchorCtr="0">
            <a:noAutofit/>
          </a:bodyPr>
          <a:lstStyle>
            <a:lvl1pPr marL="228600" indent="-228600">
              <a:buClr>
                <a:srgbClr val="E0044E"/>
              </a:buClr>
              <a:buSzPct val="130000"/>
              <a:buFont typeface="Arial" panose="020B0604020202020204" pitchFamily="34" charset="0"/>
              <a:buChar char="•"/>
              <a:defRPr sz="1400">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piscing</a:t>
            </a:r>
            <a:r>
              <a:rPr lang="en-GB"/>
              <a:t> </a:t>
            </a:r>
          </a:p>
        </p:txBody>
      </p:sp>
      <p:sp>
        <p:nvSpPr>
          <p:cNvPr id="107" name="Slide Number Placeholder 2">
            <a:extLst>
              <a:ext uri="{FF2B5EF4-FFF2-40B4-BE49-F238E27FC236}">
                <a16:creationId xmlns:a16="http://schemas.microsoft.com/office/drawing/2014/main" id="{30BCE3AB-4D74-4ED2-A2A0-B27B0F8C5B96}"/>
              </a:ext>
            </a:extLst>
          </p:cNvPr>
          <p:cNvSpPr txBox="1">
            <a:spLocks/>
          </p:cNvSpPr>
          <p:nvPr userDrawn="1"/>
        </p:nvSpPr>
        <p:spPr>
          <a:xfrm>
            <a:off x="11494008" y="6476999"/>
            <a:ext cx="382601" cy="228600"/>
          </a:xfrm>
          <a:prstGeom prst="rect">
            <a:avLst/>
          </a:prstGeom>
        </p:spPr>
        <p:txBody>
          <a:bodyPr vert="horz" lIns="91440" tIns="0" rIns="91440" bIns="0" rtlCol="0" anchor="ctr" anchorCtr="0"/>
          <a:lstStyle>
            <a:defPPr>
              <a:defRPr lang="en-US"/>
            </a:defPPr>
            <a:lvl1pPr algn="r">
              <a:defRPr sz="1000">
                <a:solidFill>
                  <a:srgbClr val="E0044E"/>
                </a:solidFill>
                <a:latin typeface="Segoe UI" panose="020B0502040204020203" pitchFamily="34" charset="0"/>
                <a:cs typeface="Segoe UI" panose="020B0502040204020203" pitchFamily="34" charset="0"/>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lvl="0"/>
            <a:fld id="{E20330FD-FE2A-483E-B0C7-29AD7FB3CAEB}" type="slidenum">
              <a:rPr lang="en-GB" noProof="0" smtClean="0">
                <a:solidFill>
                  <a:schemeClr val="tx1"/>
                </a:solidFill>
              </a:rPr>
              <a:pPr lvl="0"/>
              <a:t>‹#›</a:t>
            </a:fld>
            <a:endParaRPr lang="en-GB" noProof="0">
              <a:solidFill>
                <a:schemeClr val="tx1"/>
              </a:solidFill>
            </a:endParaRPr>
          </a:p>
        </p:txBody>
      </p:sp>
      <p:sp>
        <p:nvSpPr>
          <p:cNvPr id="108" name="Text Placeholder 8">
            <a:extLst>
              <a:ext uri="{FF2B5EF4-FFF2-40B4-BE49-F238E27FC236}">
                <a16:creationId xmlns:a16="http://schemas.microsoft.com/office/drawing/2014/main" id="{538B8730-6D34-43A1-8A6F-749AE23F4E05}"/>
              </a:ext>
            </a:extLst>
          </p:cNvPr>
          <p:cNvSpPr>
            <a:spLocks noGrp="1" noChangeAspect="1"/>
          </p:cNvSpPr>
          <p:nvPr>
            <p:ph type="body" sz="quarter" idx="28" hasCustomPrompt="1"/>
          </p:nvPr>
        </p:nvSpPr>
        <p:spPr>
          <a:xfrm>
            <a:off x="3210457" y="1471129"/>
            <a:ext cx="403762" cy="310896"/>
          </a:xfrm>
        </p:spPr>
        <p:txBody>
          <a:bodyPr wrap="square" lIns="72000" rIns="72000" anchor="ctr" anchorCtr="0">
            <a:noAutofit/>
          </a:bodyPr>
          <a:lstStyle>
            <a:lvl1pPr marL="0" indent="0">
              <a:buNone/>
              <a:defRPr sz="1600" b="1">
                <a:solidFill>
                  <a:schemeClr val="tx2"/>
                </a:solidFill>
              </a:defRPr>
            </a:lvl1pPr>
          </a:lstStyle>
          <a:p>
            <a:pPr lvl="0"/>
            <a:r>
              <a:rPr lang="en-GB"/>
              <a:t>01</a:t>
            </a:r>
          </a:p>
        </p:txBody>
      </p:sp>
      <p:sp>
        <p:nvSpPr>
          <p:cNvPr id="109" name="Text Placeholder 8">
            <a:extLst>
              <a:ext uri="{FF2B5EF4-FFF2-40B4-BE49-F238E27FC236}">
                <a16:creationId xmlns:a16="http://schemas.microsoft.com/office/drawing/2014/main" id="{35A4071D-6DD4-44D5-9C08-C4C5090BE8C0}"/>
              </a:ext>
            </a:extLst>
          </p:cNvPr>
          <p:cNvSpPr>
            <a:spLocks noGrp="1" noChangeAspect="1"/>
          </p:cNvSpPr>
          <p:nvPr>
            <p:ph type="body" sz="quarter" idx="29" hasCustomPrompt="1"/>
          </p:nvPr>
        </p:nvSpPr>
        <p:spPr>
          <a:xfrm>
            <a:off x="3210457" y="2233539"/>
            <a:ext cx="403762" cy="310896"/>
          </a:xfrm>
        </p:spPr>
        <p:txBody>
          <a:bodyPr wrap="square" lIns="72000" rIns="72000" anchor="ctr" anchorCtr="0">
            <a:noAutofit/>
          </a:bodyPr>
          <a:lstStyle>
            <a:lvl1pPr marL="0" indent="0">
              <a:buNone/>
              <a:defRPr sz="1600" b="1">
                <a:solidFill>
                  <a:schemeClr val="tx2"/>
                </a:solidFill>
              </a:defRPr>
            </a:lvl1pPr>
          </a:lstStyle>
          <a:p>
            <a:pPr lvl="0"/>
            <a:r>
              <a:rPr lang="en-GB"/>
              <a:t>02</a:t>
            </a:r>
          </a:p>
        </p:txBody>
      </p:sp>
      <p:sp>
        <p:nvSpPr>
          <p:cNvPr id="110" name="Text Placeholder 8">
            <a:extLst>
              <a:ext uri="{FF2B5EF4-FFF2-40B4-BE49-F238E27FC236}">
                <a16:creationId xmlns:a16="http://schemas.microsoft.com/office/drawing/2014/main" id="{0EB34EAC-6A1C-459B-B2A3-F7BE97CFBAC9}"/>
              </a:ext>
            </a:extLst>
          </p:cNvPr>
          <p:cNvSpPr>
            <a:spLocks noGrp="1" noChangeAspect="1"/>
          </p:cNvSpPr>
          <p:nvPr>
            <p:ph type="body" sz="quarter" idx="30" hasCustomPrompt="1"/>
          </p:nvPr>
        </p:nvSpPr>
        <p:spPr>
          <a:xfrm>
            <a:off x="3210457" y="2995949"/>
            <a:ext cx="403762" cy="310896"/>
          </a:xfrm>
        </p:spPr>
        <p:txBody>
          <a:bodyPr wrap="square" lIns="72000" rIns="72000" anchor="ctr" anchorCtr="0">
            <a:noAutofit/>
          </a:bodyPr>
          <a:lstStyle>
            <a:lvl1pPr marL="0" indent="0">
              <a:buNone/>
              <a:defRPr sz="1600" b="1">
                <a:solidFill>
                  <a:schemeClr val="tx2"/>
                </a:solidFill>
              </a:defRPr>
            </a:lvl1pPr>
          </a:lstStyle>
          <a:p>
            <a:pPr lvl="0"/>
            <a:r>
              <a:rPr lang="en-GB"/>
              <a:t>03</a:t>
            </a:r>
          </a:p>
        </p:txBody>
      </p:sp>
      <p:sp>
        <p:nvSpPr>
          <p:cNvPr id="111" name="Text Placeholder 8">
            <a:extLst>
              <a:ext uri="{FF2B5EF4-FFF2-40B4-BE49-F238E27FC236}">
                <a16:creationId xmlns:a16="http://schemas.microsoft.com/office/drawing/2014/main" id="{9E434CF3-0AAC-4E85-A9C4-BF60D2B23D4E}"/>
              </a:ext>
            </a:extLst>
          </p:cNvPr>
          <p:cNvSpPr>
            <a:spLocks noGrp="1" noChangeAspect="1"/>
          </p:cNvSpPr>
          <p:nvPr>
            <p:ph type="body" sz="quarter" idx="31" hasCustomPrompt="1"/>
          </p:nvPr>
        </p:nvSpPr>
        <p:spPr>
          <a:xfrm>
            <a:off x="3210457" y="3758359"/>
            <a:ext cx="403762" cy="310896"/>
          </a:xfrm>
        </p:spPr>
        <p:txBody>
          <a:bodyPr wrap="square" lIns="72000" rIns="72000" anchor="ctr" anchorCtr="0">
            <a:noAutofit/>
          </a:bodyPr>
          <a:lstStyle>
            <a:lvl1pPr marL="0" indent="0">
              <a:buNone/>
              <a:defRPr sz="1600" b="1">
                <a:solidFill>
                  <a:schemeClr val="tx2"/>
                </a:solidFill>
              </a:defRPr>
            </a:lvl1pPr>
          </a:lstStyle>
          <a:p>
            <a:pPr lvl="0"/>
            <a:r>
              <a:rPr lang="en-GB"/>
              <a:t>04</a:t>
            </a:r>
          </a:p>
        </p:txBody>
      </p:sp>
      <p:sp>
        <p:nvSpPr>
          <p:cNvPr id="112" name="Text Placeholder 8">
            <a:extLst>
              <a:ext uri="{FF2B5EF4-FFF2-40B4-BE49-F238E27FC236}">
                <a16:creationId xmlns:a16="http://schemas.microsoft.com/office/drawing/2014/main" id="{B2CA7AAC-609F-4BC3-B2E3-082F8FED285D}"/>
              </a:ext>
            </a:extLst>
          </p:cNvPr>
          <p:cNvSpPr>
            <a:spLocks noGrp="1" noChangeAspect="1"/>
          </p:cNvSpPr>
          <p:nvPr>
            <p:ph type="body" sz="quarter" idx="32" hasCustomPrompt="1"/>
          </p:nvPr>
        </p:nvSpPr>
        <p:spPr>
          <a:xfrm>
            <a:off x="3210457" y="4520769"/>
            <a:ext cx="403762" cy="310896"/>
          </a:xfrm>
        </p:spPr>
        <p:txBody>
          <a:bodyPr wrap="square" lIns="72000" rIns="72000" anchor="ctr" anchorCtr="0">
            <a:noAutofit/>
          </a:bodyPr>
          <a:lstStyle>
            <a:lvl1pPr marL="0" indent="0">
              <a:buNone/>
              <a:defRPr sz="1600" b="1">
                <a:solidFill>
                  <a:schemeClr val="tx2"/>
                </a:solidFill>
              </a:defRPr>
            </a:lvl1pPr>
          </a:lstStyle>
          <a:p>
            <a:pPr lvl="0"/>
            <a:r>
              <a:rPr lang="en-GB"/>
              <a:t>05</a:t>
            </a:r>
          </a:p>
        </p:txBody>
      </p:sp>
      <p:sp>
        <p:nvSpPr>
          <p:cNvPr id="113" name="Text Placeholder 8">
            <a:extLst>
              <a:ext uri="{FF2B5EF4-FFF2-40B4-BE49-F238E27FC236}">
                <a16:creationId xmlns:a16="http://schemas.microsoft.com/office/drawing/2014/main" id="{506FA360-99B3-4643-BD79-D2A5DBC0EA1A}"/>
              </a:ext>
            </a:extLst>
          </p:cNvPr>
          <p:cNvSpPr>
            <a:spLocks noGrp="1" noChangeAspect="1"/>
          </p:cNvSpPr>
          <p:nvPr>
            <p:ph type="body" sz="quarter" idx="33" hasCustomPrompt="1"/>
          </p:nvPr>
        </p:nvSpPr>
        <p:spPr>
          <a:xfrm>
            <a:off x="3210457" y="5283179"/>
            <a:ext cx="403762" cy="310896"/>
          </a:xfrm>
        </p:spPr>
        <p:txBody>
          <a:bodyPr wrap="square" lIns="72000" rIns="72000" anchor="ctr" anchorCtr="0">
            <a:noAutofit/>
          </a:bodyPr>
          <a:lstStyle>
            <a:lvl1pPr marL="0" indent="0">
              <a:buNone/>
              <a:defRPr sz="1600" b="1">
                <a:solidFill>
                  <a:schemeClr val="tx2"/>
                </a:solidFill>
              </a:defRPr>
            </a:lvl1pPr>
          </a:lstStyle>
          <a:p>
            <a:pPr lvl="0"/>
            <a:r>
              <a:rPr lang="en-GB"/>
              <a:t>06</a:t>
            </a:r>
          </a:p>
        </p:txBody>
      </p:sp>
      <p:sp>
        <p:nvSpPr>
          <p:cNvPr id="114" name="Text Placeholder 8">
            <a:extLst>
              <a:ext uri="{FF2B5EF4-FFF2-40B4-BE49-F238E27FC236}">
                <a16:creationId xmlns:a16="http://schemas.microsoft.com/office/drawing/2014/main" id="{B96D8ECE-CCF1-495C-8562-5525B2DEE214}"/>
              </a:ext>
            </a:extLst>
          </p:cNvPr>
          <p:cNvSpPr>
            <a:spLocks noGrp="1" noChangeAspect="1"/>
          </p:cNvSpPr>
          <p:nvPr>
            <p:ph type="body" sz="quarter" idx="34" hasCustomPrompt="1"/>
          </p:nvPr>
        </p:nvSpPr>
        <p:spPr>
          <a:xfrm>
            <a:off x="3210457" y="6045591"/>
            <a:ext cx="403762" cy="310896"/>
          </a:xfrm>
        </p:spPr>
        <p:txBody>
          <a:bodyPr wrap="square" lIns="72000" rIns="72000" anchor="ctr" anchorCtr="0">
            <a:noAutofit/>
          </a:bodyPr>
          <a:lstStyle>
            <a:lvl1pPr marL="0" indent="0">
              <a:buNone/>
              <a:defRPr sz="1600" b="1">
                <a:solidFill>
                  <a:schemeClr val="tx2"/>
                </a:solidFill>
              </a:defRPr>
            </a:lvl1pPr>
          </a:lstStyle>
          <a:p>
            <a:pPr lvl="0"/>
            <a:r>
              <a:rPr lang="en-GB"/>
              <a:t>07</a:t>
            </a:r>
          </a:p>
        </p:txBody>
      </p:sp>
      <p:pic>
        <p:nvPicPr>
          <p:cNvPr id="41" name="Graphic 40">
            <a:extLst>
              <a:ext uri="{FF2B5EF4-FFF2-40B4-BE49-F238E27FC236}">
                <a16:creationId xmlns:a16="http://schemas.microsoft.com/office/drawing/2014/main" id="{9F3B8AFF-A7EF-4939-816D-BBFFFF97CE5C}"/>
              </a:ext>
            </a:extLst>
          </p:cNvPr>
          <p:cNvPicPr>
            <a:picLocks/>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607040" y="6556248"/>
            <a:ext cx="813816" cy="82296"/>
          </a:xfrm>
          <a:prstGeom prst="rect">
            <a:avLst/>
          </a:prstGeom>
        </p:spPr>
      </p:pic>
    </p:spTree>
    <p:custDataLst>
      <p:tags r:id="rId1"/>
    </p:custDataLst>
    <p:extLst>
      <p:ext uri="{BB962C8B-B14F-4D97-AF65-F5344CB8AC3E}">
        <p14:creationId xmlns:p14="http://schemas.microsoft.com/office/powerpoint/2010/main" val="1742550075"/>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71F298-FB5A-4261-B1F5-3C1F5B9E84EE}"/>
              </a:ext>
            </a:extLst>
          </p:cNvPr>
          <p:cNvGraphicFramePr>
            <a:graphicFrameLocks noChangeAspect="1"/>
          </p:cNvGraphicFramePr>
          <p:nvPr userDrawn="1">
            <p:custDataLst>
              <p:tags r:id="rId2"/>
            </p:custDataLst>
            <p:extLst>
              <p:ext uri="{D42A27DB-BD31-4B8C-83A1-F6EECF244321}">
                <p14:modId xmlns:p14="http://schemas.microsoft.com/office/powerpoint/2010/main" val="3788069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id="{FC71F298-FB5A-4261-B1F5-3C1F5B9E84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4443F72-AD09-4CCC-AC53-720EB504255C}"/>
              </a:ext>
            </a:extLst>
          </p:cNvPr>
          <p:cNvSpPr>
            <a:spLocks noGrp="1"/>
          </p:cNvSpPr>
          <p:nvPr>
            <p:ph type="title" hasCustomPrompt="1"/>
          </p:nvPr>
        </p:nvSpPr>
        <p:spPr>
          <a:xfrm>
            <a:off x="587375" y="393192"/>
            <a:ext cx="10980738" cy="548640"/>
          </a:xfrm>
        </p:spPr>
        <p:txBody>
          <a:bodyPr vert="horz" anchor="ctr" anchorCtr="0">
            <a:noAutofit/>
          </a:bodyPr>
          <a:lstStyle>
            <a:lvl1pPr>
              <a:defRPr>
                <a:solidFill>
                  <a:schemeClr val="accent1"/>
                </a:solidFill>
              </a:defRPr>
            </a:lvl1pPr>
          </a:lstStyle>
          <a:p>
            <a:r>
              <a:rPr lang="en-US"/>
              <a:t>Presentation summary.</a:t>
            </a:r>
            <a:endParaRPr lang="en-GB"/>
          </a:p>
        </p:txBody>
      </p:sp>
      <p:sp>
        <p:nvSpPr>
          <p:cNvPr id="17" name="Text Placeholder 6">
            <a:extLst>
              <a:ext uri="{FF2B5EF4-FFF2-40B4-BE49-F238E27FC236}">
                <a16:creationId xmlns:a16="http://schemas.microsoft.com/office/drawing/2014/main" id="{029E708D-9705-4250-81D8-4C0D3D144C9F}"/>
              </a:ext>
            </a:extLst>
          </p:cNvPr>
          <p:cNvSpPr>
            <a:spLocks noGrp="1"/>
          </p:cNvSpPr>
          <p:nvPr>
            <p:ph type="body" sz="quarter" idx="28" hasCustomPrompt="1"/>
          </p:nvPr>
        </p:nvSpPr>
        <p:spPr>
          <a:xfrm>
            <a:off x="587375" y="953589"/>
            <a:ext cx="10980738" cy="456564"/>
          </a:xfrm>
        </p:spPr>
        <p:txBody>
          <a:bodyPr anchor="t">
            <a:noAutofit/>
          </a:bodyPr>
          <a:lstStyle>
            <a:lvl1pPr marL="0" indent="0">
              <a:buFontTx/>
              <a:buNone/>
              <a:defRPr sz="2000"/>
            </a:lvl1pPr>
          </a:lstStyle>
          <a:p>
            <a:pPr lvl="0"/>
            <a:r>
              <a:rPr lang="en-US"/>
              <a:t>Subtitle goes here</a:t>
            </a:r>
            <a:endParaRPr lang="en-IN"/>
          </a:p>
        </p:txBody>
      </p:sp>
      <p:sp>
        <p:nvSpPr>
          <p:cNvPr id="19" name="Text Placeholder 8">
            <a:extLst>
              <a:ext uri="{FF2B5EF4-FFF2-40B4-BE49-F238E27FC236}">
                <a16:creationId xmlns:a16="http://schemas.microsoft.com/office/drawing/2014/main" id="{0EB02BE0-FDC2-4A88-885B-ABB460541004}"/>
              </a:ext>
            </a:extLst>
          </p:cNvPr>
          <p:cNvSpPr>
            <a:spLocks noGrp="1"/>
          </p:cNvSpPr>
          <p:nvPr>
            <p:ph type="body" sz="quarter" idx="14" hasCustomPrompt="1"/>
          </p:nvPr>
        </p:nvSpPr>
        <p:spPr>
          <a:xfrm>
            <a:off x="587374" y="1877820"/>
            <a:ext cx="1295401" cy="310896"/>
          </a:xfrm>
        </p:spPr>
        <p:txBody>
          <a:bodyPr wrap="square" anchor="ctr" anchorCtr="0">
            <a:noAutofit/>
          </a:bodyPr>
          <a:lstStyle>
            <a:lvl1pPr marL="0" indent="0">
              <a:buNone/>
              <a:defRPr sz="1400" b="1">
                <a:solidFill>
                  <a:schemeClr val="accent1"/>
                </a:solidFill>
              </a:defRPr>
            </a:lvl1pPr>
          </a:lstStyle>
          <a:p>
            <a:pPr lvl="0"/>
            <a:r>
              <a:rPr lang="en-GB"/>
              <a:t>Summary 1</a:t>
            </a:r>
          </a:p>
        </p:txBody>
      </p:sp>
      <p:sp>
        <p:nvSpPr>
          <p:cNvPr id="20" name="Text Placeholder 8">
            <a:extLst>
              <a:ext uri="{FF2B5EF4-FFF2-40B4-BE49-F238E27FC236}">
                <a16:creationId xmlns:a16="http://schemas.microsoft.com/office/drawing/2014/main" id="{FB5A2507-574C-4849-9998-9C5C4FFEAB69}"/>
              </a:ext>
            </a:extLst>
          </p:cNvPr>
          <p:cNvSpPr>
            <a:spLocks noGrp="1"/>
          </p:cNvSpPr>
          <p:nvPr>
            <p:ph type="body" sz="quarter" idx="15" hasCustomPrompt="1"/>
          </p:nvPr>
        </p:nvSpPr>
        <p:spPr>
          <a:xfrm>
            <a:off x="1882775" y="1877820"/>
            <a:ext cx="5832219" cy="307777"/>
          </a:xfrm>
        </p:spPr>
        <p:txBody>
          <a:bodyPr wrap="square" anchor="ctr" anchorCtr="0">
            <a:noAutofit/>
          </a:bodyPr>
          <a:lstStyle>
            <a:lvl1pPr marL="228600" indent="-228600">
              <a:buClr>
                <a:srgbClr val="E0044E"/>
              </a:buClr>
              <a:buSzPct val="130000"/>
              <a:buFont typeface="Arial" panose="020B0604020202020204" pitchFamily="34" charset="0"/>
              <a:buChar char="•"/>
              <a:defRPr sz="1400">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piscing</a:t>
            </a:r>
            <a:r>
              <a:rPr lang="en-GB"/>
              <a:t> </a:t>
            </a:r>
          </a:p>
        </p:txBody>
      </p:sp>
      <p:sp>
        <p:nvSpPr>
          <p:cNvPr id="21" name="Text Placeholder 8">
            <a:extLst>
              <a:ext uri="{FF2B5EF4-FFF2-40B4-BE49-F238E27FC236}">
                <a16:creationId xmlns:a16="http://schemas.microsoft.com/office/drawing/2014/main" id="{013118B2-C139-4166-AEDC-24916B0DD302}"/>
              </a:ext>
            </a:extLst>
          </p:cNvPr>
          <p:cNvSpPr>
            <a:spLocks noGrp="1"/>
          </p:cNvSpPr>
          <p:nvPr>
            <p:ph type="body" sz="quarter" idx="16" hasCustomPrompt="1"/>
          </p:nvPr>
        </p:nvSpPr>
        <p:spPr>
          <a:xfrm>
            <a:off x="587374" y="2190551"/>
            <a:ext cx="1295401" cy="310896"/>
          </a:xfrm>
        </p:spPr>
        <p:txBody>
          <a:bodyPr wrap="square" anchor="ctr" anchorCtr="0">
            <a:noAutofit/>
          </a:bodyPr>
          <a:lstStyle>
            <a:lvl1pPr marL="0" indent="0">
              <a:buNone/>
              <a:defRPr sz="1400" b="1">
                <a:solidFill>
                  <a:schemeClr val="accent1"/>
                </a:solidFill>
              </a:defRPr>
            </a:lvl1pPr>
          </a:lstStyle>
          <a:p>
            <a:pPr lvl="0"/>
            <a:r>
              <a:rPr lang="en-GB"/>
              <a:t>Summary 2</a:t>
            </a:r>
          </a:p>
        </p:txBody>
      </p:sp>
      <p:sp>
        <p:nvSpPr>
          <p:cNvPr id="22" name="Text Placeholder 8">
            <a:extLst>
              <a:ext uri="{FF2B5EF4-FFF2-40B4-BE49-F238E27FC236}">
                <a16:creationId xmlns:a16="http://schemas.microsoft.com/office/drawing/2014/main" id="{C553EE1F-02AD-4550-8719-19738BA237C8}"/>
              </a:ext>
            </a:extLst>
          </p:cNvPr>
          <p:cNvSpPr>
            <a:spLocks noGrp="1"/>
          </p:cNvSpPr>
          <p:nvPr>
            <p:ph type="body" sz="quarter" idx="17" hasCustomPrompt="1"/>
          </p:nvPr>
        </p:nvSpPr>
        <p:spPr>
          <a:xfrm>
            <a:off x="1882775" y="2190551"/>
            <a:ext cx="5832219" cy="307777"/>
          </a:xfrm>
        </p:spPr>
        <p:txBody>
          <a:bodyPr wrap="square" anchor="ctr" anchorCtr="0">
            <a:noAutofit/>
          </a:bodyPr>
          <a:lstStyle>
            <a:lvl1pPr marL="228600" indent="-228600">
              <a:buClr>
                <a:srgbClr val="E0044E"/>
              </a:buClr>
              <a:buSzPct val="130000"/>
              <a:buFont typeface="Arial" panose="020B0604020202020204" pitchFamily="34" charset="0"/>
              <a:buChar char="•"/>
              <a:defRPr sz="1400">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piscing</a:t>
            </a:r>
            <a:r>
              <a:rPr lang="en-GB"/>
              <a:t> </a:t>
            </a:r>
          </a:p>
        </p:txBody>
      </p:sp>
      <p:sp>
        <p:nvSpPr>
          <p:cNvPr id="23" name="Text Placeholder 8">
            <a:extLst>
              <a:ext uri="{FF2B5EF4-FFF2-40B4-BE49-F238E27FC236}">
                <a16:creationId xmlns:a16="http://schemas.microsoft.com/office/drawing/2014/main" id="{ACBC2040-54F3-4D9A-B05F-512D67E7D775}"/>
              </a:ext>
            </a:extLst>
          </p:cNvPr>
          <p:cNvSpPr>
            <a:spLocks noGrp="1"/>
          </p:cNvSpPr>
          <p:nvPr>
            <p:ph type="body" sz="quarter" idx="18" hasCustomPrompt="1"/>
          </p:nvPr>
        </p:nvSpPr>
        <p:spPr>
          <a:xfrm>
            <a:off x="587374" y="2503282"/>
            <a:ext cx="1295401" cy="310896"/>
          </a:xfrm>
        </p:spPr>
        <p:txBody>
          <a:bodyPr wrap="square" anchor="ctr" anchorCtr="0">
            <a:noAutofit/>
          </a:bodyPr>
          <a:lstStyle>
            <a:lvl1pPr marL="0" indent="0">
              <a:buNone/>
              <a:defRPr sz="1400" b="1">
                <a:solidFill>
                  <a:schemeClr val="accent1"/>
                </a:solidFill>
              </a:defRPr>
            </a:lvl1pPr>
          </a:lstStyle>
          <a:p>
            <a:pPr lvl="0"/>
            <a:r>
              <a:rPr lang="en-GB"/>
              <a:t>Summary 3</a:t>
            </a:r>
          </a:p>
        </p:txBody>
      </p:sp>
      <p:sp>
        <p:nvSpPr>
          <p:cNvPr id="24" name="Text Placeholder 8">
            <a:extLst>
              <a:ext uri="{FF2B5EF4-FFF2-40B4-BE49-F238E27FC236}">
                <a16:creationId xmlns:a16="http://schemas.microsoft.com/office/drawing/2014/main" id="{D51841DE-BB1C-4993-9CD2-107E914941E2}"/>
              </a:ext>
            </a:extLst>
          </p:cNvPr>
          <p:cNvSpPr>
            <a:spLocks noGrp="1"/>
          </p:cNvSpPr>
          <p:nvPr>
            <p:ph type="body" sz="quarter" idx="19" hasCustomPrompt="1"/>
          </p:nvPr>
        </p:nvSpPr>
        <p:spPr>
          <a:xfrm>
            <a:off x="1882775" y="2503282"/>
            <a:ext cx="5832219" cy="307777"/>
          </a:xfrm>
        </p:spPr>
        <p:txBody>
          <a:bodyPr wrap="square" anchor="ctr" anchorCtr="0">
            <a:noAutofit/>
          </a:bodyPr>
          <a:lstStyle>
            <a:lvl1pPr marL="228600" indent="-228600">
              <a:buClr>
                <a:srgbClr val="E0044E"/>
              </a:buClr>
              <a:buSzPct val="130000"/>
              <a:buFont typeface="Arial" panose="020B0604020202020204" pitchFamily="34" charset="0"/>
              <a:buChar char="•"/>
              <a:defRPr sz="1400">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piscing</a:t>
            </a:r>
            <a:r>
              <a:rPr lang="en-GB"/>
              <a:t> </a:t>
            </a:r>
          </a:p>
        </p:txBody>
      </p:sp>
      <p:sp>
        <p:nvSpPr>
          <p:cNvPr id="25" name="Text Placeholder 8">
            <a:extLst>
              <a:ext uri="{FF2B5EF4-FFF2-40B4-BE49-F238E27FC236}">
                <a16:creationId xmlns:a16="http://schemas.microsoft.com/office/drawing/2014/main" id="{58F6FF29-10FB-429B-819D-3E91C1CEEDC9}"/>
              </a:ext>
            </a:extLst>
          </p:cNvPr>
          <p:cNvSpPr>
            <a:spLocks noGrp="1"/>
          </p:cNvSpPr>
          <p:nvPr>
            <p:ph type="body" sz="quarter" idx="20" hasCustomPrompt="1"/>
          </p:nvPr>
        </p:nvSpPr>
        <p:spPr>
          <a:xfrm>
            <a:off x="587374" y="2816013"/>
            <a:ext cx="1295401" cy="310896"/>
          </a:xfrm>
        </p:spPr>
        <p:txBody>
          <a:bodyPr wrap="square" anchor="ctr" anchorCtr="0">
            <a:noAutofit/>
          </a:bodyPr>
          <a:lstStyle>
            <a:lvl1pPr marL="0" indent="0">
              <a:buNone/>
              <a:defRPr sz="1400" b="1">
                <a:solidFill>
                  <a:schemeClr val="accent1"/>
                </a:solidFill>
              </a:defRPr>
            </a:lvl1pPr>
          </a:lstStyle>
          <a:p>
            <a:pPr lvl="0"/>
            <a:r>
              <a:rPr lang="en-GB"/>
              <a:t>Summary 4</a:t>
            </a:r>
          </a:p>
        </p:txBody>
      </p:sp>
      <p:sp>
        <p:nvSpPr>
          <p:cNvPr id="26" name="Text Placeholder 8">
            <a:extLst>
              <a:ext uri="{FF2B5EF4-FFF2-40B4-BE49-F238E27FC236}">
                <a16:creationId xmlns:a16="http://schemas.microsoft.com/office/drawing/2014/main" id="{9D420D5C-EA5A-4DB8-9299-C81722D6FF40}"/>
              </a:ext>
            </a:extLst>
          </p:cNvPr>
          <p:cNvSpPr>
            <a:spLocks noGrp="1"/>
          </p:cNvSpPr>
          <p:nvPr>
            <p:ph type="body" sz="quarter" idx="21" hasCustomPrompt="1"/>
          </p:nvPr>
        </p:nvSpPr>
        <p:spPr>
          <a:xfrm>
            <a:off x="1882775" y="2816013"/>
            <a:ext cx="5832219" cy="307777"/>
          </a:xfrm>
        </p:spPr>
        <p:txBody>
          <a:bodyPr wrap="square" anchor="ctr" anchorCtr="0">
            <a:noAutofit/>
          </a:bodyPr>
          <a:lstStyle>
            <a:lvl1pPr marL="228600" indent="-228600">
              <a:buClr>
                <a:srgbClr val="E0044E"/>
              </a:buClr>
              <a:buSzPct val="130000"/>
              <a:buFont typeface="Arial" panose="020B0604020202020204" pitchFamily="34" charset="0"/>
              <a:buChar char="•"/>
              <a:defRPr sz="1400">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piscing</a:t>
            </a:r>
            <a:r>
              <a:rPr lang="en-GB"/>
              <a:t> </a:t>
            </a:r>
          </a:p>
        </p:txBody>
      </p:sp>
      <p:sp>
        <p:nvSpPr>
          <p:cNvPr id="27" name="Text Placeholder 8">
            <a:extLst>
              <a:ext uri="{FF2B5EF4-FFF2-40B4-BE49-F238E27FC236}">
                <a16:creationId xmlns:a16="http://schemas.microsoft.com/office/drawing/2014/main" id="{885512DA-30FA-4BB9-8799-23B242F8CCBE}"/>
              </a:ext>
            </a:extLst>
          </p:cNvPr>
          <p:cNvSpPr>
            <a:spLocks noGrp="1"/>
          </p:cNvSpPr>
          <p:nvPr>
            <p:ph type="body" sz="quarter" idx="22" hasCustomPrompt="1"/>
          </p:nvPr>
        </p:nvSpPr>
        <p:spPr>
          <a:xfrm>
            <a:off x="587374" y="3128744"/>
            <a:ext cx="1295401" cy="310896"/>
          </a:xfrm>
        </p:spPr>
        <p:txBody>
          <a:bodyPr wrap="square" anchor="ctr" anchorCtr="0">
            <a:noAutofit/>
          </a:bodyPr>
          <a:lstStyle>
            <a:lvl1pPr marL="0" indent="0">
              <a:buNone/>
              <a:defRPr sz="1400" b="1">
                <a:solidFill>
                  <a:schemeClr val="accent1"/>
                </a:solidFill>
              </a:defRPr>
            </a:lvl1pPr>
          </a:lstStyle>
          <a:p>
            <a:pPr lvl="0"/>
            <a:r>
              <a:rPr lang="en-GB"/>
              <a:t>Summary 5</a:t>
            </a:r>
          </a:p>
        </p:txBody>
      </p:sp>
      <p:sp>
        <p:nvSpPr>
          <p:cNvPr id="28" name="Text Placeholder 8">
            <a:extLst>
              <a:ext uri="{FF2B5EF4-FFF2-40B4-BE49-F238E27FC236}">
                <a16:creationId xmlns:a16="http://schemas.microsoft.com/office/drawing/2014/main" id="{64ED23A5-770B-4157-88EC-B4267C7E9055}"/>
              </a:ext>
            </a:extLst>
          </p:cNvPr>
          <p:cNvSpPr>
            <a:spLocks noGrp="1"/>
          </p:cNvSpPr>
          <p:nvPr>
            <p:ph type="body" sz="quarter" idx="23" hasCustomPrompt="1"/>
          </p:nvPr>
        </p:nvSpPr>
        <p:spPr>
          <a:xfrm>
            <a:off x="1882775" y="3128744"/>
            <a:ext cx="5832219" cy="307777"/>
          </a:xfrm>
        </p:spPr>
        <p:txBody>
          <a:bodyPr wrap="square" anchor="ctr" anchorCtr="0">
            <a:noAutofit/>
          </a:bodyPr>
          <a:lstStyle>
            <a:lvl1pPr marL="228600" indent="-228600">
              <a:buClr>
                <a:srgbClr val="E0044E"/>
              </a:buClr>
              <a:buSzPct val="130000"/>
              <a:buFont typeface="Arial" panose="020B0604020202020204" pitchFamily="34" charset="0"/>
              <a:buChar char="•"/>
              <a:defRPr sz="1400">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piscing</a:t>
            </a:r>
            <a:r>
              <a:rPr lang="en-GB"/>
              <a:t> </a:t>
            </a:r>
          </a:p>
        </p:txBody>
      </p:sp>
      <p:sp>
        <p:nvSpPr>
          <p:cNvPr id="29" name="Text Placeholder 8">
            <a:extLst>
              <a:ext uri="{FF2B5EF4-FFF2-40B4-BE49-F238E27FC236}">
                <a16:creationId xmlns:a16="http://schemas.microsoft.com/office/drawing/2014/main" id="{F56CEDB3-E091-43AC-9DE3-36B4F1EDBA51}"/>
              </a:ext>
            </a:extLst>
          </p:cNvPr>
          <p:cNvSpPr>
            <a:spLocks noGrp="1"/>
          </p:cNvSpPr>
          <p:nvPr>
            <p:ph type="body" sz="quarter" idx="24" hasCustomPrompt="1"/>
          </p:nvPr>
        </p:nvSpPr>
        <p:spPr>
          <a:xfrm>
            <a:off x="587374" y="3441475"/>
            <a:ext cx="1295401" cy="310896"/>
          </a:xfrm>
        </p:spPr>
        <p:txBody>
          <a:bodyPr wrap="square" anchor="ctr" anchorCtr="0">
            <a:noAutofit/>
          </a:bodyPr>
          <a:lstStyle>
            <a:lvl1pPr marL="0" indent="0">
              <a:buNone/>
              <a:defRPr sz="1400" b="1">
                <a:solidFill>
                  <a:schemeClr val="accent1"/>
                </a:solidFill>
              </a:defRPr>
            </a:lvl1pPr>
          </a:lstStyle>
          <a:p>
            <a:pPr lvl="0"/>
            <a:r>
              <a:rPr lang="en-GB"/>
              <a:t>Summary 6</a:t>
            </a:r>
          </a:p>
        </p:txBody>
      </p:sp>
      <p:sp>
        <p:nvSpPr>
          <p:cNvPr id="30" name="Text Placeholder 8">
            <a:extLst>
              <a:ext uri="{FF2B5EF4-FFF2-40B4-BE49-F238E27FC236}">
                <a16:creationId xmlns:a16="http://schemas.microsoft.com/office/drawing/2014/main" id="{6C2EB124-1546-47B2-905E-0A2A87A09FD0}"/>
              </a:ext>
            </a:extLst>
          </p:cNvPr>
          <p:cNvSpPr>
            <a:spLocks noGrp="1"/>
          </p:cNvSpPr>
          <p:nvPr>
            <p:ph type="body" sz="quarter" idx="25" hasCustomPrompt="1"/>
          </p:nvPr>
        </p:nvSpPr>
        <p:spPr>
          <a:xfrm>
            <a:off x="1882775" y="3441475"/>
            <a:ext cx="5832219" cy="307777"/>
          </a:xfrm>
        </p:spPr>
        <p:txBody>
          <a:bodyPr wrap="square" anchor="ctr" anchorCtr="0">
            <a:noAutofit/>
          </a:bodyPr>
          <a:lstStyle>
            <a:lvl1pPr marL="228600" indent="-228600">
              <a:buClr>
                <a:srgbClr val="E0044E"/>
              </a:buClr>
              <a:buSzPct val="130000"/>
              <a:buFont typeface="Arial" panose="020B0604020202020204" pitchFamily="34" charset="0"/>
              <a:buChar char="•"/>
              <a:defRPr sz="1400">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piscing</a:t>
            </a:r>
            <a:r>
              <a:rPr lang="en-GB"/>
              <a:t> </a:t>
            </a:r>
          </a:p>
        </p:txBody>
      </p:sp>
      <p:sp>
        <p:nvSpPr>
          <p:cNvPr id="31" name="Text Placeholder 8">
            <a:extLst>
              <a:ext uri="{FF2B5EF4-FFF2-40B4-BE49-F238E27FC236}">
                <a16:creationId xmlns:a16="http://schemas.microsoft.com/office/drawing/2014/main" id="{297892A5-3484-4AD0-A6DB-87C6DD50DB00}"/>
              </a:ext>
            </a:extLst>
          </p:cNvPr>
          <p:cNvSpPr>
            <a:spLocks noGrp="1"/>
          </p:cNvSpPr>
          <p:nvPr>
            <p:ph type="body" sz="quarter" idx="26" hasCustomPrompt="1"/>
          </p:nvPr>
        </p:nvSpPr>
        <p:spPr>
          <a:xfrm>
            <a:off x="587374" y="3754207"/>
            <a:ext cx="1295401" cy="310896"/>
          </a:xfrm>
        </p:spPr>
        <p:txBody>
          <a:bodyPr wrap="square" anchor="ctr" anchorCtr="0">
            <a:noAutofit/>
          </a:bodyPr>
          <a:lstStyle>
            <a:lvl1pPr marL="0" indent="0">
              <a:buNone/>
              <a:defRPr sz="1400" b="1">
                <a:solidFill>
                  <a:schemeClr val="accent1"/>
                </a:solidFill>
              </a:defRPr>
            </a:lvl1pPr>
          </a:lstStyle>
          <a:p>
            <a:pPr lvl="0"/>
            <a:r>
              <a:rPr lang="en-GB"/>
              <a:t>Summary 7</a:t>
            </a:r>
          </a:p>
        </p:txBody>
      </p:sp>
      <p:sp>
        <p:nvSpPr>
          <p:cNvPr id="32" name="Text Placeholder 8">
            <a:extLst>
              <a:ext uri="{FF2B5EF4-FFF2-40B4-BE49-F238E27FC236}">
                <a16:creationId xmlns:a16="http://schemas.microsoft.com/office/drawing/2014/main" id="{F6620AB1-9639-4A33-A3BA-DD42D410C8F7}"/>
              </a:ext>
            </a:extLst>
          </p:cNvPr>
          <p:cNvSpPr>
            <a:spLocks noGrp="1"/>
          </p:cNvSpPr>
          <p:nvPr>
            <p:ph type="body" sz="quarter" idx="27" hasCustomPrompt="1"/>
          </p:nvPr>
        </p:nvSpPr>
        <p:spPr>
          <a:xfrm>
            <a:off x="1882775" y="3754207"/>
            <a:ext cx="5832219" cy="307777"/>
          </a:xfrm>
        </p:spPr>
        <p:txBody>
          <a:bodyPr wrap="square" anchor="ctr" anchorCtr="0">
            <a:noAutofit/>
          </a:bodyPr>
          <a:lstStyle>
            <a:lvl1pPr marL="228600" indent="-228600">
              <a:buClr>
                <a:srgbClr val="E0044E"/>
              </a:buClr>
              <a:buSzPct val="130000"/>
              <a:buFont typeface="Arial" panose="020B0604020202020204" pitchFamily="34" charset="0"/>
              <a:buChar char="•"/>
              <a:defRPr sz="1400">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piscing</a:t>
            </a:r>
            <a:r>
              <a:rPr lang="en-GB"/>
              <a:t> </a:t>
            </a:r>
          </a:p>
        </p:txBody>
      </p:sp>
    </p:spTree>
    <p:custDataLst>
      <p:tags r:id="rId1"/>
    </p:custDataLst>
    <p:extLst>
      <p:ext uri="{BB962C8B-B14F-4D97-AF65-F5344CB8AC3E}">
        <p14:creationId xmlns:p14="http://schemas.microsoft.com/office/powerpoint/2010/main" val="342791443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with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2064AD7-4BD1-4323-9F46-8E8AAE932496}"/>
              </a:ext>
            </a:extLst>
          </p:cNvPr>
          <p:cNvGraphicFramePr>
            <a:graphicFrameLocks noChangeAspect="1"/>
          </p:cNvGraphicFramePr>
          <p:nvPr userDrawn="1">
            <p:custDataLst>
              <p:tags r:id="rId2"/>
            </p:custDataLst>
            <p:extLst>
              <p:ext uri="{D42A27DB-BD31-4B8C-83A1-F6EECF244321}">
                <p14:modId xmlns:p14="http://schemas.microsoft.com/office/powerpoint/2010/main" val="773654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id="{82064AD7-4BD1-4323-9F46-8E8AAE9324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Content Placeholder 5">
            <a:extLst>
              <a:ext uri="{FF2B5EF4-FFF2-40B4-BE49-F238E27FC236}">
                <a16:creationId xmlns:a16="http://schemas.microsoft.com/office/drawing/2014/main" id="{C837A8E3-5F5E-4216-B243-65CE50AC3195}"/>
              </a:ext>
            </a:extLst>
          </p:cNvPr>
          <p:cNvSpPr>
            <a:spLocks noGrp="1"/>
          </p:cNvSpPr>
          <p:nvPr>
            <p:ph sz="quarter" idx="18" hasCustomPrompt="1"/>
          </p:nvPr>
        </p:nvSpPr>
        <p:spPr>
          <a:xfrm>
            <a:off x="587375" y="1423348"/>
            <a:ext cx="10980737" cy="4351338"/>
          </a:xfrm>
        </p:spPr>
        <p:txBody>
          <a:bodyPr/>
          <a:lstStyle/>
          <a:p>
            <a:pPr lvl="0"/>
            <a:r>
              <a:rPr lang="en-US"/>
              <a:t>Bullet level 1</a:t>
            </a:r>
          </a:p>
          <a:p>
            <a:pPr lvl="1"/>
            <a:r>
              <a:rPr lang="en-US"/>
              <a:t>Second level</a:t>
            </a:r>
          </a:p>
          <a:p>
            <a:pPr lvl="2"/>
            <a:r>
              <a:rPr lang="en-US"/>
              <a:t>Third level</a:t>
            </a:r>
          </a:p>
        </p:txBody>
      </p:sp>
      <p:sp>
        <p:nvSpPr>
          <p:cNvPr id="11" name="Title 1">
            <a:extLst>
              <a:ext uri="{FF2B5EF4-FFF2-40B4-BE49-F238E27FC236}">
                <a16:creationId xmlns:a16="http://schemas.microsoft.com/office/drawing/2014/main" id="{E260285C-69C9-4919-B7F7-165FF89CFDEC}"/>
              </a:ext>
            </a:extLst>
          </p:cNvPr>
          <p:cNvSpPr>
            <a:spLocks noGrp="1"/>
          </p:cNvSpPr>
          <p:nvPr>
            <p:ph type="title" hasCustomPrompt="1"/>
          </p:nvPr>
        </p:nvSpPr>
        <p:spPr>
          <a:xfrm>
            <a:off x="587376" y="393192"/>
            <a:ext cx="10980737" cy="548640"/>
          </a:xfrm>
        </p:spPr>
        <p:txBody>
          <a:bodyPr vert="horz"/>
          <a:lstStyle>
            <a:lvl1pPr>
              <a:defRPr>
                <a:solidFill>
                  <a:schemeClr val="accent1"/>
                </a:solidFill>
              </a:defRPr>
            </a:lvl1pPr>
          </a:lstStyle>
          <a:p>
            <a:r>
              <a:rPr lang="en-US"/>
              <a:t>H1 placeholder.</a:t>
            </a:r>
            <a:endParaRPr lang="en-GB"/>
          </a:p>
        </p:txBody>
      </p:sp>
    </p:spTree>
    <p:custDataLst>
      <p:tags r:id="rId1"/>
    </p:custDataLst>
    <p:extLst>
      <p:ext uri="{BB962C8B-B14F-4D97-AF65-F5344CB8AC3E}">
        <p14:creationId xmlns:p14="http://schemas.microsoft.com/office/powerpoint/2010/main" val="644889791"/>
      </p:ext>
    </p:extLst>
  </p:cSld>
  <p:clrMapOvr>
    <a:masterClrMapping/>
  </p:clrMapOvr>
  <p:hf hdr="0" dt="0"/>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and content with numberin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6A536F-2231-484E-9451-A0F7AECB0541}"/>
              </a:ext>
            </a:extLst>
          </p:cNvPr>
          <p:cNvGraphicFramePr>
            <a:graphicFrameLocks noChangeAspect="1"/>
          </p:cNvGraphicFramePr>
          <p:nvPr userDrawn="1">
            <p:custDataLst>
              <p:tags r:id="rId2"/>
            </p:custDataLst>
            <p:extLst>
              <p:ext uri="{D42A27DB-BD31-4B8C-83A1-F6EECF244321}">
                <p14:modId xmlns:p14="http://schemas.microsoft.com/office/powerpoint/2010/main" val="3831325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id="{C66A536F-2231-484E-9451-A0F7AECB05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Content Placeholder 5">
            <a:extLst>
              <a:ext uri="{FF2B5EF4-FFF2-40B4-BE49-F238E27FC236}">
                <a16:creationId xmlns:a16="http://schemas.microsoft.com/office/drawing/2014/main" id="{C837A8E3-5F5E-4216-B243-65CE50AC3195}"/>
              </a:ext>
            </a:extLst>
          </p:cNvPr>
          <p:cNvSpPr>
            <a:spLocks noGrp="1"/>
          </p:cNvSpPr>
          <p:nvPr>
            <p:ph sz="quarter" idx="18" hasCustomPrompt="1"/>
          </p:nvPr>
        </p:nvSpPr>
        <p:spPr>
          <a:xfrm>
            <a:off x="587375" y="1423348"/>
            <a:ext cx="10980737" cy="4351338"/>
          </a:xfrm>
        </p:spPr>
        <p:txBody>
          <a:bodyPr/>
          <a:lstStyle>
            <a:lvl1pPr marL="228600" indent="-228600">
              <a:buSzPct val="100000"/>
              <a:buFont typeface="+mj-lt"/>
              <a:buAutoNum type="arabicPeriod"/>
              <a:defRPr/>
            </a:lvl1pPr>
            <a:lvl2pPr marL="457200" indent="-228600">
              <a:buFont typeface="+mj-lt"/>
              <a:buAutoNum type="alphaLcPeriod"/>
              <a:defRPr/>
            </a:lvl2pPr>
            <a:lvl3pPr marL="685800" indent="-228600">
              <a:buFont typeface="+mj-lt"/>
              <a:buAutoNum type="romanLcPeriod"/>
              <a:defRPr/>
            </a:lvl3pPr>
          </a:lstStyle>
          <a:p>
            <a:pPr lvl="0"/>
            <a:r>
              <a:rPr lang="en-US"/>
              <a:t>Bullet level 1</a:t>
            </a:r>
          </a:p>
          <a:p>
            <a:pPr lvl="1"/>
            <a:r>
              <a:rPr lang="en-US"/>
              <a:t>Second level</a:t>
            </a:r>
          </a:p>
          <a:p>
            <a:pPr lvl="2"/>
            <a:r>
              <a:rPr lang="en-US"/>
              <a:t>Third level</a:t>
            </a:r>
          </a:p>
        </p:txBody>
      </p:sp>
      <p:sp>
        <p:nvSpPr>
          <p:cNvPr id="11" name="Title 1">
            <a:extLst>
              <a:ext uri="{FF2B5EF4-FFF2-40B4-BE49-F238E27FC236}">
                <a16:creationId xmlns:a16="http://schemas.microsoft.com/office/drawing/2014/main" id="{E260285C-69C9-4919-B7F7-165FF89CFDEC}"/>
              </a:ext>
            </a:extLst>
          </p:cNvPr>
          <p:cNvSpPr>
            <a:spLocks noGrp="1"/>
          </p:cNvSpPr>
          <p:nvPr>
            <p:ph type="title" hasCustomPrompt="1"/>
          </p:nvPr>
        </p:nvSpPr>
        <p:spPr>
          <a:xfrm>
            <a:off x="587376" y="393192"/>
            <a:ext cx="10980737" cy="548640"/>
          </a:xfrm>
        </p:spPr>
        <p:txBody>
          <a:bodyPr vert="horz"/>
          <a:lstStyle>
            <a:lvl1pPr>
              <a:defRPr>
                <a:solidFill>
                  <a:schemeClr val="accent1"/>
                </a:solidFill>
              </a:defRPr>
            </a:lvl1pPr>
          </a:lstStyle>
          <a:p>
            <a:r>
              <a:rPr lang="en-US"/>
              <a:t>H1 placeholder.</a:t>
            </a:r>
            <a:endParaRPr lang="en-GB"/>
          </a:p>
        </p:txBody>
      </p:sp>
    </p:spTree>
    <p:custDataLst>
      <p:tags r:id="rId1"/>
    </p:custDataLst>
    <p:extLst>
      <p:ext uri="{BB962C8B-B14F-4D97-AF65-F5344CB8AC3E}">
        <p14:creationId xmlns:p14="http://schemas.microsoft.com/office/powerpoint/2010/main" val="3463312691"/>
      </p:ext>
    </p:extLst>
  </p:cSld>
  <p:clrMapOvr>
    <a:masterClrMapping/>
  </p:clrMapOvr>
  <p:hf hd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with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675CD4-4940-458C-97F8-A0D879E01CB0}"/>
              </a:ext>
            </a:extLst>
          </p:cNvPr>
          <p:cNvGraphicFramePr>
            <a:graphicFrameLocks noChangeAspect="1"/>
          </p:cNvGraphicFramePr>
          <p:nvPr userDrawn="1">
            <p:custDataLst>
              <p:tags r:id="rId2"/>
            </p:custDataLst>
            <p:extLst>
              <p:ext uri="{D42A27DB-BD31-4B8C-83A1-F6EECF244321}">
                <p14:modId xmlns:p14="http://schemas.microsoft.com/office/powerpoint/2010/main" val="11895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id="{B1675CD4-4940-458C-97F8-A0D879E01C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Content Placeholder 5">
            <a:extLst>
              <a:ext uri="{FF2B5EF4-FFF2-40B4-BE49-F238E27FC236}">
                <a16:creationId xmlns:a16="http://schemas.microsoft.com/office/drawing/2014/main" id="{C837A8E3-5F5E-4216-B243-65CE50AC3195}"/>
              </a:ext>
            </a:extLst>
          </p:cNvPr>
          <p:cNvSpPr>
            <a:spLocks noGrp="1"/>
          </p:cNvSpPr>
          <p:nvPr>
            <p:ph sz="quarter" idx="18" hasCustomPrompt="1"/>
          </p:nvPr>
        </p:nvSpPr>
        <p:spPr>
          <a:xfrm>
            <a:off x="587375" y="1423348"/>
            <a:ext cx="10980737" cy="4351338"/>
          </a:xfrm>
        </p:spPr>
        <p:txBody>
          <a:bodyPr/>
          <a:lstStyle/>
          <a:p>
            <a:pPr lvl="0"/>
            <a:r>
              <a:rPr lang="en-US"/>
              <a:t>Bullet level 1</a:t>
            </a:r>
          </a:p>
          <a:p>
            <a:pPr lvl="1"/>
            <a:r>
              <a:rPr lang="en-US"/>
              <a:t>Second level</a:t>
            </a:r>
          </a:p>
          <a:p>
            <a:pPr lvl="2"/>
            <a:r>
              <a:rPr lang="en-US"/>
              <a:t>Third level</a:t>
            </a:r>
          </a:p>
          <a:p>
            <a:pPr lvl="3"/>
            <a:endParaRPr lang="en-US"/>
          </a:p>
        </p:txBody>
      </p:sp>
      <p:sp>
        <p:nvSpPr>
          <p:cNvPr id="11" name="Title 1">
            <a:extLst>
              <a:ext uri="{FF2B5EF4-FFF2-40B4-BE49-F238E27FC236}">
                <a16:creationId xmlns:a16="http://schemas.microsoft.com/office/drawing/2014/main" id="{E260285C-69C9-4919-B7F7-165FF89CFDEC}"/>
              </a:ext>
            </a:extLst>
          </p:cNvPr>
          <p:cNvSpPr>
            <a:spLocks noGrp="1"/>
          </p:cNvSpPr>
          <p:nvPr>
            <p:ph type="title" hasCustomPrompt="1"/>
          </p:nvPr>
        </p:nvSpPr>
        <p:spPr>
          <a:xfrm>
            <a:off x="587376" y="393192"/>
            <a:ext cx="10980737" cy="548640"/>
          </a:xfrm>
        </p:spPr>
        <p:txBody>
          <a:bodyPr vert="horz" anchor="ctr">
            <a:noAutofit/>
          </a:bodyPr>
          <a:lstStyle>
            <a:lvl1pPr>
              <a:defRPr>
                <a:solidFill>
                  <a:schemeClr val="accent1"/>
                </a:solidFill>
              </a:defRPr>
            </a:lvl1pPr>
          </a:lstStyle>
          <a:p>
            <a:r>
              <a:rPr lang="en-US"/>
              <a:t>H1 placeholder.</a:t>
            </a:r>
            <a:endParaRPr lang="en-GB"/>
          </a:p>
        </p:txBody>
      </p:sp>
      <p:sp>
        <p:nvSpPr>
          <p:cNvPr id="7" name="Text Placeholder 6">
            <a:extLst>
              <a:ext uri="{FF2B5EF4-FFF2-40B4-BE49-F238E27FC236}">
                <a16:creationId xmlns:a16="http://schemas.microsoft.com/office/drawing/2014/main" id="{D472F869-0857-4E9E-956E-92A74599D8AD}"/>
              </a:ext>
            </a:extLst>
          </p:cNvPr>
          <p:cNvSpPr>
            <a:spLocks noGrp="1"/>
          </p:cNvSpPr>
          <p:nvPr>
            <p:ph type="body" sz="quarter" idx="19" hasCustomPrompt="1"/>
          </p:nvPr>
        </p:nvSpPr>
        <p:spPr>
          <a:xfrm>
            <a:off x="587375" y="950976"/>
            <a:ext cx="10980738" cy="456564"/>
          </a:xfrm>
        </p:spPr>
        <p:txBody>
          <a:bodyPr anchor="t">
            <a:normAutofit/>
          </a:bodyPr>
          <a:lstStyle>
            <a:lvl1pPr marL="0" indent="0">
              <a:buFontTx/>
              <a:buNone/>
              <a:defRPr sz="2000"/>
            </a:lvl1pPr>
          </a:lstStyle>
          <a:p>
            <a:pPr lvl="0"/>
            <a:r>
              <a:rPr lang="en-US"/>
              <a:t>Subtitle goes here</a:t>
            </a:r>
            <a:endParaRPr lang="en-IN"/>
          </a:p>
        </p:txBody>
      </p:sp>
    </p:spTree>
    <p:custDataLst>
      <p:tags r:id="rId1"/>
    </p:custDataLst>
    <p:extLst>
      <p:ext uri="{BB962C8B-B14F-4D97-AF65-F5344CB8AC3E}">
        <p14:creationId xmlns:p14="http://schemas.microsoft.com/office/powerpoint/2010/main" val="1040675167"/>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plit-screen Image/Text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89E844-2203-4C56-B54C-AE0501FFA392}"/>
              </a:ext>
            </a:extLst>
          </p:cNvPr>
          <p:cNvGraphicFramePr>
            <a:graphicFrameLocks noChangeAspect="1"/>
          </p:cNvGraphicFramePr>
          <p:nvPr userDrawn="1">
            <p:custDataLst>
              <p:tags r:id="rId2"/>
            </p:custDataLst>
            <p:extLst>
              <p:ext uri="{D42A27DB-BD31-4B8C-83A1-F6EECF244321}">
                <p14:modId xmlns:p14="http://schemas.microsoft.com/office/powerpoint/2010/main" val="2886569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B689E844-2203-4C56-B54C-AE0501FFA3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181A5944-3F5F-4B28-87BF-D4D6467A4F5D}"/>
              </a:ext>
            </a:extLst>
          </p:cNvPr>
          <p:cNvSpPr>
            <a:spLocks noGrp="1"/>
          </p:cNvSpPr>
          <p:nvPr>
            <p:ph sz="quarter" idx="21" hasCustomPrompt="1"/>
          </p:nvPr>
        </p:nvSpPr>
        <p:spPr>
          <a:xfrm>
            <a:off x="587375" y="1423348"/>
            <a:ext cx="5203825" cy="4359707"/>
          </a:xfrm>
        </p:spPr>
        <p:txBody>
          <a:bodyPr/>
          <a:lstStyle/>
          <a:p>
            <a:pPr lvl="0"/>
            <a:r>
              <a:rPr lang="en-US"/>
              <a:t>Bullet level 1</a:t>
            </a:r>
          </a:p>
          <a:p>
            <a:pPr lvl="1"/>
            <a:r>
              <a:rPr lang="en-US"/>
              <a:t>Second level</a:t>
            </a:r>
          </a:p>
          <a:p>
            <a:pPr lvl="2"/>
            <a:r>
              <a:rPr lang="en-US"/>
              <a:t>Third level</a:t>
            </a:r>
          </a:p>
          <a:p>
            <a:pPr lvl="3"/>
            <a:endParaRPr lang="en-US"/>
          </a:p>
        </p:txBody>
      </p:sp>
      <p:pic>
        <p:nvPicPr>
          <p:cNvPr id="10" name="Picture 9" descr="A picture containing person&#10;&#10;Description automatically generated">
            <a:extLst>
              <a:ext uri="{FF2B5EF4-FFF2-40B4-BE49-F238E27FC236}">
                <a16:creationId xmlns:a16="http://schemas.microsoft.com/office/drawing/2014/main" id="{3DD302B6-A33D-4A33-BF56-BC6B69949A2E}"/>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6095999" y="0"/>
            <a:ext cx="6096002" cy="6858000"/>
          </a:xfrm>
          <a:prstGeom prst="rect">
            <a:avLst/>
          </a:prstGeom>
        </p:spPr>
      </p:pic>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6" y="393192"/>
            <a:ext cx="5203825" cy="548640"/>
          </a:xfrm>
        </p:spPr>
        <p:txBody>
          <a:bodyPr vert="horz"/>
          <a:lstStyle>
            <a:lvl1pPr>
              <a:defRPr>
                <a:solidFill>
                  <a:schemeClr val="accent1"/>
                </a:solidFill>
              </a:defRPr>
            </a:lvl1pPr>
          </a:lstStyle>
          <a:p>
            <a:r>
              <a:rPr lang="en-US"/>
              <a:t>H1 placeholder.</a:t>
            </a:r>
            <a:endParaRPr lang="en-GB"/>
          </a:p>
        </p:txBody>
      </p:sp>
      <p:pic>
        <p:nvPicPr>
          <p:cNvPr id="19" name="Graphic 18">
            <a:extLst>
              <a:ext uri="{FF2B5EF4-FFF2-40B4-BE49-F238E27FC236}">
                <a16:creationId xmlns:a16="http://schemas.microsoft.com/office/drawing/2014/main" id="{A8BF756E-9D0E-417D-AB82-14F7164CAEA6}"/>
              </a:ext>
            </a:extLst>
          </p:cNvPr>
          <p:cNvPicPr>
            <a:picLocks/>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607040" y="6556248"/>
            <a:ext cx="813816" cy="82296"/>
          </a:xfrm>
          <a:prstGeom prst="rect">
            <a:avLst/>
          </a:prstGeom>
        </p:spPr>
      </p:pic>
      <p:sp>
        <p:nvSpPr>
          <p:cNvPr id="22" name="Slide Number Placeholder 2">
            <a:extLst>
              <a:ext uri="{FF2B5EF4-FFF2-40B4-BE49-F238E27FC236}">
                <a16:creationId xmlns:a16="http://schemas.microsoft.com/office/drawing/2014/main" id="{86EC872D-CAB0-4C9F-AA7F-287423D64B7B}"/>
              </a:ext>
            </a:extLst>
          </p:cNvPr>
          <p:cNvSpPr txBox="1">
            <a:spLocks/>
          </p:cNvSpPr>
          <p:nvPr userDrawn="1"/>
        </p:nvSpPr>
        <p:spPr>
          <a:xfrm>
            <a:off x="11494008" y="6476999"/>
            <a:ext cx="382601" cy="228600"/>
          </a:xfrm>
          <a:prstGeom prst="rect">
            <a:avLst/>
          </a:prstGeom>
        </p:spPr>
        <p:txBody>
          <a:bodyPr vert="horz" lIns="91440" tIns="0" rIns="91440" bIns="0" rtlCol="0" anchor="ctr" anchorCtr="0"/>
          <a:lstStyle>
            <a:defPPr>
              <a:defRPr lang="en-US"/>
            </a:defPPr>
            <a:lvl1pPr algn="r">
              <a:defRPr sz="1000">
                <a:solidFill>
                  <a:srgbClr val="E0044E"/>
                </a:solidFill>
                <a:latin typeface="Segoe UI" panose="020B0502040204020203" pitchFamily="34" charset="0"/>
                <a:cs typeface="Segoe UI" panose="020B0502040204020203" pitchFamily="34" charset="0"/>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lvl="0"/>
            <a:fld id="{E20330FD-FE2A-483E-B0C7-29AD7FB3CAEB}" type="slidenum">
              <a:rPr lang="en-GB" noProof="0" smtClean="0"/>
              <a:pPr lvl="0"/>
              <a:t>‹#›</a:t>
            </a:fld>
            <a:endParaRPr lang="en-GB" noProof="0"/>
          </a:p>
        </p:txBody>
      </p:sp>
    </p:spTree>
    <p:custDataLst>
      <p:tags r:id="rId1"/>
    </p:custDataLst>
    <p:extLst>
      <p:ext uri="{BB962C8B-B14F-4D97-AF65-F5344CB8AC3E}">
        <p14:creationId xmlns:p14="http://schemas.microsoft.com/office/powerpoint/2010/main" val="4859070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with Replaceable Image">
    <p:bg>
      <p:bgPr>
        <a:solidFill>
          <a:schemeClr val="bg1"/>
        </a:solidFill>
        <a:effectLst/>
      </p:bgPr>
    </p:bg>
    <p:spTree>
      <p:nvGrpSpPr>
        <p:cNvPr id="1" name=""/>
        <p:cNvGrpSpPr/>
        <p:nvPr/>
      </p:nvGrpSpPr>
      <p:grpSpPr>
        <a:xfrm>
          <a:off x="0" y="0"/>
          <a:ext cx="0" cy="0"/>
          <a:chOff x="0" y="0"/>
          <a:chExt cx="0" cy="0"/>
        </a:xfrm>
      </p:grpSpPr>
      <p:sp>
        <p:nvSpPr>
          <p:cNvPr id="9" name="Picture Placeholder 24">
            <a:extLst>
              <a:ext uri="{FF2B5EF4-FFF2-40B4-BE49-F238E27FC236}">
                <a16:creationId xmlns:a16="http://schemas.microsoft.com/office/drawing/2014/main" id="{C6F9BC9B-EC68-4856-A709-703B0C2B4EBB}"/>
              </a:ext>
            </a:extLst>
          </p:cNvPr>
          <p:cNvSpPr>
            <a:spLocks noGrp="1"/>
          </p:cNvSpPr>
          <p:nvPr>
            <p:ph type="pic" sz="quarter" idx="15"/>
          </p:nvPr>
        </p:nvSpPr>
        <p:spPr>
          <a:xfrm>
            <a:off x="0" y="0"/>
            <a:ext cx="12192000" cy="6858000"/>
          </a:xfrm>
          <a:prstGeom prst="rect">
            <a:avLst/>
          </a:prstGeom>
          <a:solidFill>
            <a:schemeClr val="accent1"/>
          </a:solidFill>
        </p:spPr>
        <p:txBody>
          <a:bodyPr wrap="square" anchor="ctr" anchorCtr="0">
            <a:noAutofit/>
          </a:bodyPr>
          <a:lstStyle>
            <a:lvl1pPr marL="0" indent="0" algn="ctr">
              <a:spcBef>
                <a:spcPts val="1200"/>
              </a:spcBef>
              <a:buNone/>
              <a:defRPr sz="1400">
                <a:solidFill>
                  <a:schemeClr val="bg1"/>
                </a:solidFill>
              </a:defRPr>
            </a:lvl1pPr>
          </a:lstStyle>
          <a:p>
            <a:r>
              <a:rPr lang="en-US"/>
              <a:t>Click icon to add picture</a:t>
            </a:r>
            <a:endParaRPr lang="en-GB"/>
          </a:p>
        </p:txBody>
      </p:sp>
      <p:graphicFrame>
        <p:nvGraphicFramePr>
          <p:cNvPr id="2" name="Object 1" hidden="1">
            <a:extLst>
              <a:ext uri="{FF2B5EF4-FFF2-40B4-BE49-F238E27FC236}">
                <a16:creationId xmlns:a16="http://schemas.microsoft.com/office/drawing/2014/main" id="{6DCAF9CD-25CE-4E0F-9181-3BE1B37853D4}"/>
              </a:ext>
            </a:extLst>
          </p:cNvPr>
          <p:cNvGraphicFramePr>
            <a:graphicFrameLocks noChangeAspect="1"/>
          </p:cNvGraphicFramePr>
          <p:nvPr userDrawn="1">
            <p:custDataLst>
              <p:tags r:id="rId2"/>
            </p:custDataLst>
            <p:extLst>
              <p:ext uri="{D42A27DB-BD31-4B8C-83A1-F6EECF244321}">
                <p14:modId xmlns:p14="http://schemas.microsoft.com/office/powerpoint/2010/main" val="1331089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6DCAF9CD-25CE-4E0F-9181-3BE1B37853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90374356-2DEE-40D7-A5C3-76BE971FC02F}"/>
              </a:ext>
            </a:extLst>
          </p:cNvPr>
          <p:cNvSpPr>
            <a:spLocks noGrp="1"/>
          </p:cNvSpPr>
          <p:nvPr>
            <p:ph type="subTitle" idx="1" hasCustomPrompt="1"/>
          </p:nvPr>
        </p:nvSpPr>
        <p:spPr>
          <a:xfrm>
            <a:off x="1524000" y="3600026"/>
            <a:ext cx="9144000" cy="1258455"/>
          </a:xfrm>
        </p:spPr>
        <p:txBody>
          <a:bodyPr>
            <a:normAutofit/>
          </a:bodyPr>
          <a:lstStyle>
            <a:lvl1pPr marL="0" indent="0" algn="ctr">
              <a:buNone/>
              <a:defRPr sz="1400" b="0">
                <a:solidFill>
                  <a:schemeClr val="bg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endParaRPr lang="en-GB"/>
          </a:p>
        </p:txBody>
      </p:sp>
      <p:sp>
        <p:nvSpPr>
          <p:cNvPr id="8" name="Text Placeholder 7">
            <a:extLst>
              <a:ext uri="{FF2B5EF4-FFF2-40B4-BE49-F238E27FC236}">
                <a16:creationId xmlns:a16="http://schemas.microsoft.com/office/drawing/2014/main" id="{1CAAE0C1-BF92-4903-9FBA-D5BF95690F4A}"/>
              </a:ext>
            </a:extLst>
          </p:cNvPr>
          <p:cNvSpPr>
            <a:spLocks noGrp="1"/>
          </p:cNvSpPr>
          <p:nvPr>
            <p:ph type="body" sz="quarter" idx="11" hasCustomPrompt="1"/>
          </p:nvPr>
        </p:nvSpPr>
        <p:spPr>
          <a:xfrm>
            <a:off x="1524000" y="2328577"/>
            <a:ext cx="9144000" cy="957262"/>
          </a:xfrm>
        </p:spPr>
        <p:txBody>
          <a:bodyPr/>
          <a:lstStyle>
            <a:lvl1pPr marL="0" indent="0" algn="ctr" defTabSz="914400" rtl="0" eaLnBrk="1" latinLnBrk="0" hangingPunct="1">
              <a:buFontTx/>
              <a:buNone/>
              <a:defRPr lang="en-US" sz="5400" b="1" kern="1200" dirty="0" smtClean="0">
                <a:solidFill>
                  <a:schemeClr val="bg1"/>
                </a:solidFill>
                <a:latin typeface="Segoe UI" panose="020B0502040204020203" pitchFamily="34" charset="0"/>
                <a:ea typeface="+mn-ea"/>
                <a:cs typeface="Segoe UI" panose="020B0502040204020203" pitchFamily="34" charset="0"/>
              </a:defRPr>
            </a:lvl1pPr>
            <a:lvl2pPr marL="0" algn="ctr" defTabSz="914400" rtl="0" eaLnBrk="1" latinLnBrk="0" hangingPunct="1">
              <a:defRPr lang="en-US" sz="5400" b="1" kern="1200" dirty="0" smtClean="0">
                <a:solidFill>
                  <a:schemeClr val="bg1"/>
                </a:solidFill>
                <a:latin typeface="Segoe UI" panose="020B0502040204020203" pitchFamily="34" charset="0"/>
                <a:ea typeface="+mn-ea"/>
                <a:cs typeface="Segoe UI" panose="020B0502040204020203" pitchFamily="34" charset="0"/>
              </a:defRPr>
            </a:lvl2pPr>
            <a:lvl3pPr marL="0" algn="ctr" defTabSz="914400" rtl="0" eaLnBrk="1" latinLnBrk="0" hangingPunct="1">
              <a:defRPr lang="en-US" sz="5400" b="1" kern="1200" dirty="0" smtClean="0">
                <a:solidFill>
                  <a:schemeClr val="bg1"/>
                </a:solidFill>
                <a:latin typeface="Segoe UI" panose="020B0502040204020203" pitchFamily="34" charset="0"/>
                <a:ea typeface="+mn-ea"/>
                <a:cs typeface="Segoe UI" panose="020B0502040204020203" pitchFamily="34" charset="0"/>
              </a:defRPr>
            </a:lvl3pPr>
            <a:lvl4pPr marL="0" algn="ctr" defTabSz="914400" rtl="0" eaLnBrk="1" latinLnBrk="0" hangingPunct="1">
              <a:defRPr lang="en-US" sz="5400" b="1" kern="1200" dirty="0" smtClean="0">
                <a:solidFill>
                  <a:schemeClr val="bg1"/>
                </a:solidFill>
                <a:latin typeface="Segoe UI" panose="020B0502040204020203" pitchFamily="34" charset="0"/>
                <a:ea typeface="+mn-ea"/>
                <a:cs typeface="Segoe UI" panose="020B0502040204020203" pitchFamily="34" charset="0"/>
              </a:defRPr>
            </a:lvl4pPr>
            <a:lvl5pPr marL="0" indent="0" algn="ctr" defTabSz="914400" rtl="0" eaLnBrk="1" latinLnBrk="0" hangingPunct="1">
              <a:buNone/>
              <a:defRPr lang="en-IN" sz="5400" b="1" kern="1200" dirty="0">
                <a:solidFill>
                  <a:schemeClr val="bg1"/>
                </a:solidFill>
                <a:latin typeface="Segoe UI" panose="020B0502040204020203" pitchFamily="34" charset="0"/>
                <a:ea typeface="+mn-ea"/>
                <a:cs typeface="Segoe UI" panose="020B0502040204020203" pitchFamily="34" charset="0"/>
              </a:defRPr>
            </a:lvl5pPr>
          </a:lstStyle>
          <a:p>
            <a:pPr lvl="0"/>
            <a:r>
              <a:rPr lang="en-US"/>
              <a:t>Elevate your  impact.</a:t>
            </a:r>
          </a:p>
        </p:txBody>
      </p:sp>
      <p:pic>
        <p:nvPicPr>
          <p:cNvPr id="10" name="Graphic 9">
            <a:extLst>
              <a:ext uri="{FF2B5EF4-FFF2-40B4-BE49-F238E27FC236}">
                <a16:creationId xmlns:a16="http://schemas.microsoft.com/office/drawing/2014/main" id="{F6C513BA-F4D0-4BE8-AD46-3D8BE724AC3D}"/>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848850" y="557212"/>
            <a:ext cx="1905000" cy="198723"/>
          </a:xfrm>
          <a:prstGeom prst="rect">
            <a:avLst/>
          </a:prstGeom>
        </p:spPr>
      </p:pic>
      <p:sp>
        <p:nvSpPr>
          <p:cNvPr id="6" name="Picture Placeholder 5">
            <a:extLst>
              <a:ext uri="{FF2B5EF4-FFF2-40B4-BE49-F238E27FC236}">
                <a16:creationId xmlns:a16="http://schemas.microsoft.com/office/drawing/2014/main" id="{119A72D4-1730-4EC3-B3C5-2C80783888F4}"/>
              </a:ext>
            </a:extLst>
          </p:cNvPr>
          <p:cNvSpPr>
            <a:spLocks noGrp="1"/>
          </p:cNvSpPr>
          <p:nvPr>
            <p:ph type="pic" sz="quarter" idx="12"/>
          </p:nvPr>
        </p:nvSpPr>
        <p:spPr>
          <a:xfrm>
            <a:off x="9694863" y="5614416"/>
            <a:ext cx="2066544" cy="722376"/>
          </a:xfrm>
        </p:spPr>
        <p:txBody>
          <a:bodyPr/>
          <a:lstStyle>
            <a:lvl1pPr marL="0" indent="0">
              <a:buFontTx/>
              <a:buNone/>
              <a:defRPr/>
            </a:lvl1pPr>
          </a:lstStyle>
          <a:p>
            <a:endParaRPr lang="en-IN"/>
          </a:p>
        </p:txBody>
      </p:sp>
    </p:spTree>
    <p:custDataLst>
      <p:tags r:id="rId1"/>
    </p:custDataLst>
    <p:extLst>
      <p:ext uri="{BB962C8B-B14F-4D97-AF65-F5344CB8AC3E}">
        <p14:creationId xmlns:p14="http://schemas.microsoft.com/office/powerpoint/2010/main" val="34839531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plit-screen Image/Text Right Placehol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66BA33-6264-480E-841F-DFB7AB83F212}"/>
              </a:ext>
            </a:extLst>
          </p:cNvPr>
          <p:cNvGraphicFramePr>
            <a:graphicFrameLocks noChangeAspect="1"/>
          </p:cNvGraphicFramePr>
          <p:nvPr userDrawn="1">
            <p:custDataLst>
              <p:tags r:id="rId2"/>
            </p:custDataLst>
            <p:extLst>
              <p:ext uri="{D42A27DB-BD31-4B8C-83A1-F6EECF244321}">
                <p14:modId xmlns:p14="http://schemas.microsoft.com/office/powerpoint/2010/main" val="3238375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C466BA33-6264-480E-841F-DFB7AB83F2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CA5DDE-E837-4B89-B762-5D2BB1329BC4}"/>
              </a:ext>
            </a:extLst>
          </p:cNvPr>
          <p:cNvSpPr>
            <a:spLocks noGrp="1"/>
          </p:cNvSpPr>
          <p:nvPr>
            <p:ph type="pic" sz="quarter" idx="18"/>
          </p:nvPr>
        </p:nvSpPr>
        <p:spPr>
          <a:xfrm>
            <a:off x="6095999" y="0"/>
            <a:ext cx="6096002" cy="6858000"/>
          </a:xfrm>
          <a:solidFill>
            <a:srgbClr val="E6E7E8"/>
          </a:solidFill>
        </p:spPr>
        <p:txBody>
          <a:bodyPr anchor="ctr"/>
          <a:lstStyle>
            <a:lvl1pPr marL="0" indent="0" algn="ctr">
              <a:spcBef>
                <a:spcPts val="0"/>
              </a:spcBef>
              <a:buNone/>
              <a:defRPr/>
            </a:lvl1pPr>
          </a:lstStyle>
          <a:p>
            <a:r>
              <a:rPr lang="en-US"/>
              <a:t>Click icon to add picture</a:t>
            </a:r>
            <a:endParaRPr lang="en-GB"/>
          </a:p>
        </p:txBody>
      </p:sp>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6" y="393192"/>
            <a:ext cx="5203825" cy="548640"/>
          </a:xfrm>
        </p:spPr>
        <p:txBody>
          <a:bodyPr vert="horz"/>
          <a:lstStyle>
            <a:lvl1pPr>
              <a:defRPr>
                <a:solidFill>
                  <a:schemeClr val="accent1"/>
                </a:solidFill>
              </a:defRPr>
            </a:lvl1pPr>
          </a:lstStyle>
          <a:p>
            <a:r>
              <a:rPr lang="en-US"/>
              <a:t>H1 placeholder.</a:t>
            </a:r>
            <a:endParaRPr lang="en-GB"/>
          </a:p>
        </p:txBody>
      </p:sp>
      <p:sp>
        <p:nvSpPr>
          <p:cNvPr id="13" name="Content Placeholder 7">
            <a:extLst>
              <a:ext uri="{FF2B5EF4-FFF2-40B4-BE49-F238E27FC236}">
                <a16:creationId xmlns:a16="http://schemas.microsoft.com/office/drawing/2014/main" id="{0EDEA188-227F-4F59-A493-5546B37FBDD4}"/>
              </a:ext>
            </a:extLst>
          </p:cNvPr>
          <p:cNvSpPr>
            <a:spLocks noGrp="1"/>
          </p:cNvSpPr>
          <p:nvPr>
            <p:ph sz="quarter" idx="21" hasCustomPrompt="1"/>
          </p:nvPr>
        </p:nvSpPr>
        <p:spPr>
          <a:xfrm>
            <a:off x="587374" y="1423348"/>
            <a:ext cx="5202936" cy="4359707"/>
          </a:xfrm>
        </p:spPr>
        <p:txBody>
          <a:bodyPr/>
          <a:lstStyle/>
          <a:p>
            <a:pPr lvl="0"/>
            <a:r>
              <a:rPr lang="en-US"/>
              <a:t>Bullet level 1</a:t>
            </a:r>
          </a:p>
          <a:p>
            <a:pPr lvl="1"/>
            <a:r>
              <a:rPr lang="en-US"/>
              <a:t>Second level</a:t>
            </a:r>
          </a:p>
          <a:p>
            <a:pPr lvl="2"/>
            <a:r>
              <a:rPr lang="en-US"/>
              <a:t>Third level</a:t>
            </a:r>
          </a:p>
        </p:txBody>
      </p:sp>
      <p:pic>
        <p:nvPicPr>
          <p:cNvPr id="10" name="Graphic 9">
            <a:extLst>
              <a:ext uri="{FF2B5EF4-FFF2-40B4-BE49-F238E27FC236}">
                <a16:creationId xmlns:a16="http://schemas.microsoft.com/office/drawing/2014/main" id="{F4CA47C1-E8E2-4DF2-8CDC-8DEFDD46B73D}"/>
              </a:ext>
            </a:extLst>
          </p:cNvPr>
          <p:cNvPicPr>
            <a:picLocks/>
          </p:cNvPicPr>
          <p:nvPr userDrawn="1"/>
        </p:nvPicPr>
        <p:blipFill>
          <a:blip/>
          <a:stretch>
            <a:fillRect/>
          </a:stretch>
        </p:blipFill>
        <p:spPr>
          <a:xfrm>
            <a:off x="10607040" y="6556248"/>
            <a:ext cx="813816" cy="82296"/>
          </a:xfrm>
          <a:prstGeom prst="rect">
            <a:avLst/>
          </a:prstGeom>
        </p:spPr>
      </p:pic>
      <p:sp>
        <p:nvSpPr>
          <p:cNvPr id="11" name="TextBox 10">
            <a:extLst>
              <a:ext uri="{FF2B5EF4-FFF2-40B4-BE49-F238E27FC236}">
                <a16:creationId xmlns:a16="http://schemas.microsoft.com/office/drawing/2014/main" id="{0DEF3AC2-2A6C-4C15-A38B-990C8E11C75C}"/>
              </a:ext>
            </a:extLst>
          </p:cNvPr>
          <p:cNvSpPr txBox="1">
            <a:spLocks/>
          </p:cNvSpPr>
          <p:nvPr userDrawn="1"/>
        </p:nvSpPr>
        <p:spPr>
          <a:xfrm>
            <a:off x="10493986" y="6479554"/>
            <a:ext cx="78581" cy="228600"/>
          </a:xfrm>
          <a:prstGeom prst="rect">
            <a:avLst/>
          </a:prstGeom>
          <a:noFill/>
        </p:spPr>
        <p:txBody>
          <a:bodyPr wrap="square" lIns="0" tIns="0" rIns="0" bIns="0" rtlCol="0" anchor="ctr" anchorCtr="0">
            <a:normAutofit/>
          </a:bodyPr>
          <a:lstStyle/>
          <a:p>
            <a:pPr algn="l"/>
            <a:r>
              <a:rPr lang="en-US" sz="1000" u="none">
                <a:solidFill>
                  <a:srgbClr val="E0044E"/>
                </a:solidFill>
                <a:latin typeface="Calibri" panose="020F0502020204030204" pitchFamily="34" charset="0"/>
                <a:cs typeface="Calibri" panose="020F0502020204030204" pitchFamily="34" charset="0"/>
              </a:rPr>
              <a:t>●</a:t>
            </a:r>
            <a:endParaRPr lang="en-GB" sz="1000" u="none">
              <a:solidFill>
                <a:srgbClr val="E0044E"/>
              </a:solidFill>
            </a:endParaRPr>
          </a:p>
        </p:txBody>
      </p:sp>
      <p:sp>
        <p:nvSpPr>
          <p:cNvPr id="17" name="TextBox 16">
            <a:extLst>
              <a:ext uri="{FF2B5EF4-FFF2-40B4-BE49-F238E27FC236}">
                <a16:creationId xmlns:a16="http://schemas.microsoft.com/office/drawing/2014/main" id="{9C50EA59-6212-4A5D-908B-599CE09941A8}"/>
              </a:ext>
            </a:extLst>
          </p:cNvPr>
          <p:cNvSpPr txBox="1"/>
          <p:nvPr userDrawn="1"/>
        </p:nvSpPr>
        <p:spPr>
          <a:xfrm>
            <a:off x="6424571" y="6469059"/>
            <a:ext cx="3994309" cy="246221"/>
          </a:xfrm>
          <a:prstGeom prst="rect">
            <a:avLst/>
          </a:prstGeom>
          <a:ln>
            <a:solidFill>
              <a:schemeClr val="accent1">
                <a:alpha val="0"/>
              </a:schemeClr>
            </a:solidFill>
          </a:ln>
        </p:spPr>
        <p:txBody>
          <a:bodyPr vert="horz" lIns="0" tIns="0" rIns="0" bIns="0" rtlCol="0" anchor="ctr" anchorCtr="0">
            <a:normAutofit/>
          </a:bodyPr>
          <a:lstStyle>
            <a:defPPr>
              <a:defRPr lang="en-US"/>
            </a:defPPr>
            <a:lvl1pPr algn="r">
              <a:defRPr sz="1000" u="none">
                <a:latin typeface="Segoe UI" panose="020B0502040204020203" pitchFamily="34" charset="0"/>
                <a:cs typeface="Segoe UI" panose="020B0502040204020203" pitchFamily="34" charset="0"/>
              </a:defRPr>
            </a:lvl1pPr>
          </a:lstStyle>
          <a:p>
            <a:pPr lvl="0"/>
            <a:r>
              <a:rPr lang="en-US"/>
              <a:t>Presentation Title</a:t>
            </a:r>
            <a:endParaRPr lang="en-GB"/>
          </a:p>
        </p:txBody>
      </p:sp>
      <p:sp>
        <p:nvSpPr>
          <p:cNvPr id="18" name="Slide Number Placeholder 2">
            <a:extLst>
              <a:ext uri="{FF2B5EF4-FFF2-40B4-BE49-F238E27FC236}">
                <a16:creationId xmlns:a16="http://schemas.microsoft.com/office/drawing/2014/main" id="{235753F7-5043-41DF-9BA6-B19F640B7778}"/>
              </a:ext>
            </a:extLst>
          </p:cNvPr>
          <p:cNvSpPr txBox="1">
            <a:spLocks/>
          </p:cNvSpPr>
          <p:nvPr userDrawn="1"/>
        </p:nvSpPr>
        <p:spPr>
          <a:xfrm>
            <a:off x="11494008" y="6476999"/>
            <a:ext cx="382601" cy="228600"/>
          </a:xfrm>
          <a:prstGeom prst="rect">
            <a:avLst/>
          </a:prstGeom>
        </p:spPr>
        <p:txBody>
          <a:bodyPr vert="horz" lIns="91440" tIns="0" rIns="91440" bIns="0" rtlCol="0" anchor="ctr" anchorCtr="0"/>
          <a:lstStyle>
            <a:defPPr>
              <a:defRPr lang="en-US"/>
            </a:defPPr>
            <a:lvl1pPr algn="r">
              <a:defRPr sz="1000">
                <a:solidFill>
                  <a:srgbClr val="E0044E"/>
                </a:solidFill>
                <a:latin typeface="Segoe UI" panose="020B0502040204020203" pitchFamily="34" charset="0"/>
                <a:cs typeface="Segoe UI" panose="020B0502040204020203" pitchFamily="34" charset="0"/>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lvl="0"/>
            <a:fld id="{E20330FD-FE2A-483E-B0C7-29AD7FB3CAEB}" type="slidenum">
              <a:rPr lang="en-GB" noProof="0" smtClean="0"/>
              <a:pPr lvl="0"/>
              <a:t>‹#›</a:t>
            </a:fld>
            <a:endParaRPr lang="en-GB" noProof="0"/>
          </a:p>
        </p:txBody>
      </p:sp>
    </p:spTree>
    <p:custDataLst>
      <p:tags r:id="rId1"/>
    </p:custDataLst>
    <p:extLst>
      <p:ext uri="{BB962C8B-B14F-4D97-AF65-F5344CB8AC3E}">
        <p14:creationId xmlns:p14="http://schemas.microsoft.com/office/powerpoint/2010/main" val="41895876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Split-screen Image/Text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45C83C9-A155-4DF7-A290-34BB352A8271}"/>
              </a:ext>
            </a:extLst>
          </p:cNvPr>
          <p:cNvGraphicFramePr>
            <a:graphicFrameLocks noChangeAspect="1"/>
          </p:cNvGraphicFramePr>
          <p:nvPr userDrawn="1">
            <p:custDataLst>
              <p:tags r:id="rId2"/>
            </p:custDataLst>
            <p:extLst>
              <p:ext uri="{D42A27DB-BD31-4B8C-83A1-F6EECF244321}">
                <p14:modId xmlns:p14="http://schemas.microsoft.com/office/powerpoint/2010/main" val="3113993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245C83C9-A155-4DF7-A290-34BB352A82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descr="A picture containing person&#10;&#10;Description automatically generated">
            <a:extLst>
              <a:ext uri="{FF2B5EF4-FFF2-40B4-BE49-F238E27FC236}">
                <a16:creationId xmlns:a16="http://schemas.microsoft.com/office/drawing/2014/main" id="{3DD302B6-A33D-4A33-BF56-BC6B69949A2E}"/>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6096002" cy="6858000"/>
          </a:xfrm>
          <a:prstGeom prst="rect">
            <a:avLst/>
          </a:prstGeom>
        </p:spPr>
      </p:pic>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6615113" y="393192"/>
            <a:ext cx="4953000" cy="548640"/>
          </a:xfrm>
        </p:spPr>
        <p:txBody>
          <a:bodyPr vert="horz"/>
          <a:lstStyle>
            <a:lvl1pPr>
              <a:defRPr>
                <a:solidFill>
                  <a:schemeClr val="accent1"/>
                </a:solidFill>
              </a:defRPr>
            </a:lvl1pPr>
          </a:lstStyle>
          <a:p>
            <a:r>
              <a:rPr lang="en-US"/>
              <a:t>H1 placeholder.</a:t>
            </a:r>
            <a:endParaRPr lang="en-GB"/>
          </a:p>
        </p:txBody>
      </p:sp>
      <p:sp>
        <p:nvSpPr>
          <p:cNvPr id="9" name="Content Placeholder 7">
            <a:extLst>
              <a:ext uri="{FF2B5EF4-FFF2-40B4-BE49-F238E27FC236}">
                <a16:creationId xmlns:a16="http://schemas.microsoft.com/office/drawing/2014/main" id="{997E24B1-A3CD-4BDE-8B31-532519171C1A}"/>
              </a:ext>
            </a:extLst>
          </p:cNvPr>
          <p:cNvSpPr>
            <a:spLocks noGrp="1"/>
          </p:cNvSpPr>
          <p:nvPr>
            <p:ph sz="quarter" idx="21" hasCustomPrompt="1"/>
          </p:nvPr>
        </p:nvSpPr>
        <p:spPr>
          <a:xfrm>
            <a:off x="6615113" y="1423348"/>
            <a:ext cx="4953000" cy="4359707"/>
          </a:xfrm>
        </p:spPr>
        <p:txBody>
          <a:bodyPr/>
          <a:lstStyle/>
          <a:p>
            <a:pPr lvl="0"/>
            <a:r>
              <a:rPr lang="en-US"/>
              <a:t>Bullet level 1</a:t>
            </a:r>
          </a:p>
          <a:p>
            <a:pPr lvl="1"/>
            <a:r>
              <a:rPr lang="en-US"/>
              <a:t>Second level</a:t>
            </a:r>
          </a:p>
          <a:p>
            <a:pPr lvl="2"/>
            <a:r>
              <a:rPr lang="en-US"/>
              <a:t>Third level</a:t>
            </a:r>
          </a:p>
        </p:txBody>
      </p:sp>
    </p:spTree>
    <p:custDataLst>
      <p:tags r:id="rId1"/>
    </p:custDataLst>
    <p:extLst>
      <p:ext uri="{BB962C8B-B14F-4D97-AF65-F5344CB8AC3E}">
        <p14:creationId xmlns:p14="http://schemas.microsoft.com/office/powerpoint/2010/main" val="33902859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plit-screen Image/Text Left Placehol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FD722FC-B404-4436-90AF-6B4A7FC9D745}"/>
              </a:ext>
            </a:extLst>
          </p:cNvPr>
          <p:cNvGraphicFramePr>
            <a:graphicFrameLocks noChangeAspect="1"/>
          </p:cNvGraphicFramePr>
          <p:nvPr userDrawn="1">
            <p:custDataLst>
              <p:tags r:id="rId2"/>
            </p:custDataLst>
            <p:extLst>
              <p:ext uri="{D42A27DB-BD31-4B8C-83A1-F6EECF244321}">
                <p14:modId xmlns:p14="http://schemas.microsoft.com/office/powerpoint/2010/main" val="1567531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3FD722FC-B404-4436-90AF-6B4A7FC9D7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1EE5D860-920E-4C4E-BC81-5C52C45EC662}"/>
              </a:ext>
            </a:extLst>
          </p:cNvPr>
          <p:cNvSpPr>
            <a:spLocks noGrp="1"/>
          </p:cNvSpPr>
          <p:nvPr>
            <p:ph type="pic" sz="quarter" idx="18"/>
          </p:nvPr>
        </p:nvSpPr>
        <p:spPr>
          <a:xfrm>
            <a:off x="0" y="0"/>
            <a:ext cx="6096002" cy="6858000"/>
          </a:xfrm>
          <a:solidFill>
            <a:srgbClr val="E6E7E8"/>
          </a:solidFill>
        </p:spPr>
        <p:txBody>
          <a:bodyPr anchor="ctr"/>
          <a:lstStyle>
            <a:lvl1pPr marL="0" indent="0" algn="ctr">
              <a:buNone/>
              <a:defRPr/>
            </a:lvl1pPr>
          </a:lstStyle>
          <a:p>
            <a:r>
              <a:rPr lang="en-US"/>
              <a:t>Click icon to add picture</a:t>
            </a:r>
            <a:endParaRPr lang="en-GB"/>
          </a:p>
        </p:txBody>
      </p:sp>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6615113" y="393192"/>
            <a:ext cx="4953000" cy="548640"/>
          </a:xfrm>
        </p:spPr>
        <p:txBody>
          <a:bodyPr vert="horz"/>
          <a:lstStyle>
            <a:lvl1pPr>
              <a:defRPr>
                <a:solidFill>
                  <a:schemeClr val="accent1"/>
                </a:solidFill>
              </a:defRPr>
            </a:lvl1pPr>
          </a:lstStyle>
          <a:p>
            <a:r>
              <a:rPr lang="en-US"/>
              <a:t>H1 placeholder.</a:t>
            </a:r>
            <a:endParaRPr lang="en-GB"/>
          </a:p>
        </p:txBody>
      </p:sp>
      <p:sp>
        <p:nvSpPr>
          <p:cNvPr id="8" name="Content Placeholder 7">
            <a:extLst>
              <a:ext uri="{FF2B5EF4-FFF2-40B4-BE49-F238E27FC236}">
                <a16:creationId xmlns:a16="http://schemas.microsoft.com/office/drawing/2014/main" id="{1C13AF92-6867-4F5A-81E5-1FB1469D70B8}"/>
              </a:ext>
            </a:extLst>
          </p:cNvPr>
          <p:cNvSpPr>
            <a:spLocks noGrp="1"/>
          </p:cNvSpPr>
          <p:nvPr>
            <p:ph sz="quarter" idx="21" hasCustomPrompt="1"/>
          </p:nvPr>
        </p:nvSpPr>
        <p:spPr>
          <a:xfrm>
            <a:off x="6615113" y="1423348"/>
            <a:ext cx="4953000" cy="4359707"/>
          </a:xfrm>
        </p:spPr>
        <p:txBody>
          <a:bodyPr/>
          <a:lstStyle/>
          <a:p>
            <a:pPr lvl="0"/>
            <a:r>
              <a:rPr lang="en-US"/>
              <a:t>Bullet level 1</a:t>
            </a:r>
          </a:p>
          <a:p>
            <a:pPr lvl="1"/>
            <a:r>
              <a:rPr lang="en-US"/>
              <a:t>Second level</a:t>
            </a:r>
          </a:p>
          <a:p>
            <a:pPr lvl="2"/>
            <a:r>
              <a:rPr lang="en-US"/>
              <a:t>Third level</a:t>
            </a:r>
          </a:p>
        </p:txBody>
      </p:sp>
    </p:spTree>
    <p:custDataLst>
      <p:tags r:id="rId1"/>
    </p:custDataLst>
    <p:extLst>
      <p:ext uri="{BB962C8B-B14F-4D97-AF65-F5344CB8AC3E}">
        <p14:creationId xmlns:p14="http://schemas.microsoft.com/office/powerpoint/2010/main" val="38890947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lit-screen Image/Text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340025-C171-459A-809B-6D64C78E0FD7}"/>
              </a:ext>
            </a:extLst>
          </p:cNvPr>
          <p:cNvGraphicFramePr>
            <a:graphicFrameLocks noChangeAspect="1"/>
          </p:cNvGraphicFramePr>
          <p:nvPr userDrawn="1">
            <p:custDataLst>
              <p:tags r:id="rId2"/>
            </p:custDataLst>
            <p:extLst>
              <p:ext uri="{D42A27DB-BD31-4B8C-83A1-F6EECF244321}">
                <p14:modId xmlns:p14="http://schemas.microsoft.com/office/powerpoint/2010/main" val="3237839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8B340025-C171-459A-809B-6D64C78E0F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59D31537-96A9-424C-A1CF-7E239825442E}"/>
              </a:ext>
            </a:extLst>
          </p:cNvPr>
          <p:cNvSpPr>
            <a:spLocks noGrp="1"/>
          </p:cNvSpPr>
          <p:nvPr>
            <p:ph type="pic" sz="quarter" idx="22"/>
          </p:nvPr>
        </p:nvSpPr>
        <p:spPr>
          <a:xfrm>
            <a:off x="8126414" y="0"/>
            <a:ext cx="4065587" cy="6858000"/>
          </a:xfrm>
        </p:spPr>
        <p:txBody>
          <a:bodyPr/>
          <a:lstStyle/>
          <a:p>
            <a:endParaRPr lang="en-IN"/>
          </a:p>
        </p:txBody>
      </p:sp>
      <p:sp>
        <p:nvSpPr>
          <p:cNvPr id="12" name="Content Placeholder 7">
            <a:extLst>
              <a:ext uri="{FF2B5EF4-FFF2-40B4-BE49-F238E27FC236}">
                <a16:creationId xmlns:a16="http://schemas.microsoft.com/office/drawing/2014/main" id="{F4358DBD-25E3-4D08-BED9-BC56CCA2067E}"/>
              </a:ext>
            </a:extLst>
          </p:cNvPr>
          <p:cNvSpPr>
            <a:spLocks noGrp="1"/>
          </p:cNvSpPr>
          <p:nvPr>
            <p:ph sz="quarter" idx="21" hasCustomPrompt="1"/>
          </p:nvPr>
        </p:nvSpPr>
        <p:spPr>
          <a:xfrm>
            <a:off x="587375" y="1423348"/>
            <a:ext cx="7197724" cy="4359707"/>
          </a:xfrm>
        </p:spPr>
        <p:txBody>
          <a:bodyPr/>
          <a:lstStyle/>
          <a:p>
            <a:pPr lvl="0"/>
            <a:r>
              <a:rPr lang="en-US"/>
              <a:t>Bullet level 1</a:t>
            </a:r>
          </a:p>
          <a:p>
            <a:pPr lvl="1"/>
            <a:r>
              <a:rPr lang="en-US"/>
              <a:t>Second level</a:t>
            </a:r>
          </a:p>
          <a:p>
            <a:pPr lvl="2"/>
            <a:r>
              <a:rPr lang="en-US"/>
              <a:t>Third level</a:t>
            </a:r>
          </a:p>
        </p:txBody>
      </p:sp>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6" y="393192"/>
            <a:ext cx="7197724" cy="548640"/>
          </a:xfrm>
        </p:spPr>
        <p:txBody>
          <a:bodyPr vert="horz" anchor="ctr"/>
          <a:lstStyle>
            <a:lvl1pPr>
              <a:defRPr>
                <a:solidFill>
                  <a:schemeClr val="accent1"/>
                </a:solidFill>
              </a:defRPr>
            </a:lvl1pPr>
          </a:lstStyle>
          <a:p>
            <a:r>
              <a:rPr lang="en-US"/>
              <a:t>H1 placeholder.</a:t>
            </a:r>
            <a:endParaRPr lang="en-GB"/>
          </a:p>
        </p:txBody>
      </p:sp>
      <p:pic>
        <p:nvPicPr>
          <p:cNvPr id="9" name="Graphic 8">
            <a:extLst>
              <a:ext uri="{FF2B5EF4-FFF2-40B4-BE49-F238E27FC236}">
                <a16:creationId xmlns:a16="http://schemas.microsoft.com/office/drawing/2014/main" id="{BA5A4F0E-A494-4BC5-9D77-50BEE5C66D29}"/>
              </a:ext>
            </a:extLst>
          </p:cNvPr>
          <p:cNvPicPr>
            <a:picLocks/>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607040" y="6556248"/>
            <a:ext cx="813816" cy="82296"/>
          </a:xfrm>
          <a:prstGeom prst="rect">
            <a:avLst/>
          </a:prstGeom>
        </p:spPr>
      </p:pic>
      <p:sp>
        <p:nvSpPr>
          <p:cNvPr id="11" name="TextBox 10">
            <a:extLst>
              <a:ext uri="{FF2B5EF4-FFF2-40B4-BE49-F238E27FC236}">
                <a16:creationId xmlns:a16="http://schemas.microsoft.com/office/drawing/2014/main" id="{0064E55A-CE40-47E6-8953-8782AC1628CA}"/>
              </a:ext>
            </a:extLst>
          </p:cNvPr>
          <p:cNvSpPr txBox="1">
            <a:spLocks/>
          </p:cNvSpPr>
          <p:nvPr userDrawn="1"/>
        </p:nvSpPr>
        <p:spPr>
          <a:xfrm>
            <a:off x="10493986" y="6479554"/>
            <a:ext cx="78581" cy="228600"/>
          </a:xfrm>
          <a:prstGeom prst="rect">
            <a:avLst/>
          </a:prstGeom>
          <a:noFill/>
        </p:spPr>
        <p:txBody>
          <a:bodyPr wrap="square" lIns="0" tIns="0" rIns="0" bIns="0" rtlCol="0" anchor="ctr" anchorCtr="0">
            <a:normAutofit/>
          </a:bodyPr>
          <a:lstStyle/>
          <a:p>
            <a:pPr algn="l"/>
            <a:r>
              <a:rPr lang="en-US" sz="1000" u="none">
                <a:solidFill>
                  <a:srgbClr val="E0044E"/>
                </a:solidFill>
                <a:latin typeface="Calibri" panose="020F0502020204030204" pitchFamily="34" charset="0"/>
                <a:cs typeface="Calibri" panose="020F0502020204030204" pitchFamily="34" charset="0"/>
              </a:rPr>
              <a:t>●</a:t>
            </a:r>
            <a:endParaRPr lang="en-GB" sz="1000" u="none">
              <a:solidFill>
                <a:srgbClr val="E0044E"/>
              </a:solidFill>
            </a:endParaRPr>
          </a:p>
        </p:txBody>
      </p:sp>
      <p:sp>
        <p:nvSpPr>
          <p:cNvPr id="16" name="TextBox 15">
            <a:extLst>
              <a:ext uri="{FF2B5EF4-FFF2-40B4-BE49-F238E27FC236}">
                <a16:creationId xmlns:a16="http://schemas.microsoft.com/office/drawing/2014/main" id="{B64A1633-E7B0-443D-A9D9-5C3AE34BA066}"/>
              </a:ext>
            </a:extLst>
          </p:cNvPr>
          <p:cNvSpPr txBox="1"/>
          <p:nvPr userDrawn="1"/>
        </p:nvSpPr>
        <p:spPr>
          <a:xfrm>
            <a:off x="6424571" y="6469059"/>
            <a:ext cx="3994309" cy="246221"/>
          </a:xfrm>
          <a:prstGeom prst="rect">
            <a:avLst/>
          </a:prstGeom>
          <a:ln>
            <a:solidFill>
              <a:schemeClr val="accent1">
                <a:alpha val="0"/>
              </a:schemeClr>
            </a:solidFill>
          </a:ln>
        </p:spPr>
        <p:txBody>
          <a:bodyPr vert="horz" lIns="0" tIns="0" rIns="0" bIns="0" rtlCol="0" anchor="ctr" anchorCtr="0">
            <a:normAutofit/>
          </a:bodyPr>
          <a:lstStyle>
            <a:defPPr>
              <a:defRPr lang="en-US"/>
            </a:defPPr>
            <a:lvl1pPr algn="r">
              <a:defRPr sz="1000" u="none">
                <a:latin typeface="Segoe UI" panose="020B0502040204020203" pitchFamily="34" charset="0"/>
                <a:cs typeface="Segoe UI" panose="020B0502040204020203" pitchFamily="34" charset="0"/>
              </a:defRPr>
            </a:lvl1pPr>
          </a:lstStyle>
          <a:p>
            <a:pPr lvl="0"/>
            <a:r>
              <a:rPr lang="en-US">
                <a:solidFill>
                  <a:schemeClr val="bg1"/>
                </a:solidFill>
              </a:rPr>
              <a:t>Presentation Title</a:t>
            </a:r>
            <a:endParaRPr lang="en-GB">
              <a:solidFill>
                <a:schemeClr val="bg1"/>
              </a:solidFill>
            </a:endParaRPr>
          </a:p>
        </p:txBody>
      </p:sp>
      <p:sp>
        <p:nvSpPr>
          <p:cNvPr id="17" name="Slide Number Placeholder 2">
            <a:extLst>
              <a:ext uri="{FF2B5EF4-FFF2-40B4-BE49-F238E27FC236}">
                <a16:creationId xmlns:a16="http://schemas.microsoft.com/office/drawing/2014/main" id="{61F0C47A-86FF-4F13-8BAC-D381BAC62A75}"/>
              </a:ext>
            </a:extLst>
          </p:cNvPr>
          <p:cNvSpPr txBox="1">
            <a:spLocks/>
          </p:cNvSpPr>
          <p:nvPr userDrawn="1"/>
        </p:nvSpPr>
        <p:spPr>
          <a:xfrm>
            <a:off x="11494008" y="6476999"/>
            <a:ext cx="382601" cy="228600"/>
          </a:xfrm>
          <a:prstGeom prst="rect">
            <a:avLst/>
          </a:prstGeom>
        </p:spPr>
        <p:txBody>
          <a:bodyPr vert="horz" lIns="91440" tIns="0" rIns="91440" bIns="0" rtlCol="0" anchor="ctr" anchorCtr="0"/>
          <a:lstStyle>
            <a:defPPr>
              <a:defRPr lang="en-US"/>
            </a:defPPr>
            <a:lvl1pPr algn="r">
              <a:defRPr sz="1000">
                <a:solidFill>
                  <a:srgbClr val="E0044E"/>
                </a:solidFill>
                <a:latin typeface="Segoe UI" panose="020B0502040204020203" pitchFamily="34" charset="0"/>
                <a:cs typeface="Segoe UI" panose="020B0502040204020203" pitchFamily="34" charset="0"/>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lvl="0"/>
            <a:fld id="{E20330FD-FE2A-483E-B0C7-29AD7FB3CAEB}" type="slidenum">
              <a:rPr lang="en-GB" noProof="0" smtClean="0"/>
              <a:pPr lvl="0"/>
              <a:t>‹#›</a:t>
            </a:fld>
            <a:endParaRPr lang="en-GB" noProof="0"/>
          </a:p>
        </p:txBody>
      </p:sp>
    </p:spTree>
    <p:custDataLst>
      <p:tags r:id="rId1"/>
    </p:custDataLst>
    <p:extLst>
      <p:ext uri="{BB962C8B-B14F-4D97-AF65-F5344CB8AC3E}">
        <p14:creationId xmlns:p14="http://schemas.microsoft.com/office/powerpoint/2010/main" val="10129144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plit-screen Image/Text 1/3 Placehol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D5E083-1BE6-49F6-99BF-D001B00D6BE0}"/>
              </a:ext>
            </a:extLst>
          </p:cNvPr>
          <p:cNvGraphicFramePr>
            <a:graphicFrameLocks noChangeAspect="1"/>
          </p:cNvGraphicFramePr>
          <p:nvPr userDrawn="1">
            <p:custDataLst>
              <p:tags r:id="rId2"/>
            </p:custDataLst>
            <p:extLst>
              <p:ext uri="{D42A27DB-BD31-4B8C-83A1-F6EECF244321}">
                <p14:modId xmlns:p14="http://schemas.microsoft.com/office/powerpoint/2010/main" val="1393746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8CD5E083-1BE6-49F6-99BF-D001B00D6B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3F2024AA-F9EE-4DD6-BD38-23BF96BA1821}"/>
              </a:ext>
            </a:extLst>
          </p:cNvPr>
          <p:cNvSpPr>
            <a:spLocks noGrp="1"/>
          </p:cNvSpPr>
          <p:nvPr>
            <p:ph type="pic" sz="quarter" idx="18"/>
          </p:nvPr>
        </p:nvSpPr>
        <p:spPr>
          <a:xfrm>
            <a:off x="8127599" y="0"/>
            <a:ext cx="4064402" cy="6858000"/>
          </a:xfrm>
          <a:solidFill>
            <a:srgbClr val="E6E7E8"/>
          </a:solidFill>
        </p:spPr>
        <p:txBody>
          <a:bodyPr anchor="ctr"/>
          <a:lstStyle>
            <a:lvl1pPr marL="0" indent="0" algn="ctr">
              <a:buNone/>
              <a:defRPr/>
            </a:lvl1pPr>
          </a:lstStyle>
          <a:p>
            <a:r>
              <a:rPr lang="en-US"/>
              <a:t>Click icon to add picture</a:t>
            </a:r>
            <a:endParaRPr lang="en-GB"/>
          </a:p>
        </p:txBody>
      </p:sp>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6" y="393192"/>
            <a:ext cx="7197724" cy="548640"/>
          </a:xfrm>
        </p:spPr>
        <p:txBody>
          <a:bodyPr vert="horz"/>
          <a:lstStyle>
            <a:lvl1pPr>
              <a:defRPr>
                <a:solidFill>
                  <a:schemeClr val="accent1"/>
                </a:solidFill>
              </a:defRPr>
            </a:lvl1pPr>
          </a:lstStyle>
          <a:p>
            <a:r>
              <a:rPr lang="en-US"/>
              <a:t>H1 placeholder.</a:t>
            </a:r>
            <a:endParaRPr lang="en-GB"/>
          </a:p>
        </p:txBody>
      </p:sp>
      <p:sp>
        <p:nvSpPr>
          <p:cNvPr id="12" name="Content Placeholder 7">
            <a:extLst>
              <a:ext uri="{FF2B5EF4-FFF2-40B4-BE49-F238E27FC236}">
                <a16:creationId xmlns:a16="http://schemas.microsoft.com/office/drawing/2014/main" id="{58101BAE-7605-4C0B-A8A9-E4208462CBFB}"/>
              </a:ext>
            </a:extLst>
          </p:cNvPr>
          <p:cNvSpPr>
            <a:spLocks noGrp="1"/>
          </p:cNvSpPr>
          <p:nvPr>
            <p:ph sz="quarter" idx="21" hasCustomPrompt="1"/>
          </p:nvPr>
        </p:nvSpPr>
        <p:spPr>
          <a:xfrm>
            <a:off x="587375" y="1423348"/>
            <a:ext cx="7197724" cy="4359707"/>
          </a:xfrm>
        </p:spPr>
        <p:txBody>
          <a:bodyPr/>
          <a:lstStyle/>
          <a:p>
            <a:pPr lvl="0"/>
            <a:r>
              <a:rPr lang="en-US"/>
              <a:t>Bullet level 1</a:t>
            </a:r>
          </a:p>
          <a:p>
            <a:pPr lvl="1"/>
            <a:r>
              <a:rPr lang="en-US"/>
              <a:t>Second level</a:t>
            </a:r>
          </a:p>
          <a:p>
            <a:pPr lvl="2"/>
            <a:r>
              <a:rPr lang="en-US"/>
              <a:t>Third level</a:t>
            </a:r>
          </a:p>
        </p:txBody>
      </p:sp>
      <p:sp>
        <p:nvSpPr>
          <p:cNvPr id="16" name="Slide Number Placeholder 2">
            <a:extLst>
              <a:ext uri="{FF2B5EF4-FFF2-40B4-BE49-F238E27FC236}">
                <a16:creationId xmlns:a16="http://schemas.microsoft.com/office/drawing/2014/main" id="{432C30DD-9B51-4679-A8FF-06013357F706}"/>
              </a:ext>
            </a:extLst>
          </p:cNvPr>
          <p:cNvSpPr txBox="1">
            <a:spLocks/>
          </p:cNvSpPr>
          <p:nvPr userDrawn="1"/>
        </p:nvSpPr>
        <p:spPr>
          <a:xfrm>
            <a:off x="11494008" y="6476999"/>
            <a:ext cx="382601" cy="228600"/>
          </a:xfrm>
          <a:prstGeom prst="rect">
            <a:avLst/>
          </a:prstGeom>
        </p:spPr>
        <p:txBody>
          <a:bodyPr vert="horz" lIns="91440" tIns="0" rIns="91440" bIns="0" rtlCol="0" anchor="ctr" anchorCtr="0"/>
          <a:lstStyle>
            <a:defPPr>
              <a:defRPr lang="en-US"/>
            </a:defPPr>
            <a:lvl1pPr algn="r">
              <a:defRPr sz="1000">
                <a:solidFill>
                  <a:srgbClr val="E0044E"/>
                </a:solidFill>
                <a:latin typeface="Segoe UI" panose="020B0502040204020203" pitchFamily="34" charset="0"/>
                <a:cs typeface="Segoe UI" panose="020B0502040204020203" pitchFamily="34" charset="0"/>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lvl="0"/>
            <a:fld id="{E20330FD-FE2A-483E-B0C7-29AD7FB3CAEB}" type="slidenum">
              <a:rPr lang="en-GB" noProof="0" smtClean="0">
                <a:solidFill>
                  <a:schemeClr val="tx1"/>
                </a:solidFill>
              </a:rPr>
              <a:pPr lvl="0"/>
              <a:t>‹#›</a:t>
            </a:fld>
            <a:endParaRPr lang="en-GB" noProof="0">
              <a:solidFill>
                <a:schemeClr val="tx1"/>
              </a:solidFill>
            </a:endParaRPr>
          </a:p>
        </p:txBody>
      </p:sp>
      <p:pic>
        <p:nvPicPr>
          <p:cNvPr id="8" name="Graphic 7">
            <a:extLst>
              <a:ext uri="{FF2B5EF4-FFF2-40B4-BE49-F238E27FC236}">
                <a16:creationId xmlns:a16="http://schemas.microsoft.com/office/drawing/2014/main" id="{967AC8BC-8A63-4ABC-8B6E-5E174FDAA389}"/>
              </a:ext>
            </a:extLst>
          </p:cNvPr>
          <p:cNvPicPr>
            <a:picLocks/>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607040" y="6556248"/>
            <a:ext cx="813816" cy="82296"/>
          </a:xfrm>
          <a:prstGeom prst="rect">
            <a:avLst/>
          </a:prstGeom>
        </p:spPr>
      </p:pic>
    </p:spTree>
    <p:custDataLst>
      <p:tags r:id="rId1"/>
    </p:custDataLst>
    <p:extLst>
      <p:ext uri="{BB962C8B-B14F-4D97-AF65-F5344CB8AC3E}">
        <p14:creationId xmlns:p14="http://schemas.microsoft.com/office/powerpoint/2010/main" val="16705881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Split-screen Image/Text 1/3 Placeholder">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D5E083-1BE6-49F6-99BF-D001B00D6BE0}"/>
              </a:ext>
            </a:extLst>
          </p:cNvPr>
          <p:cNvGraphicFramePr>
            <a:graphicFrameLocks noChangeAspect="1"/>
          </p:cNvGraphicFramePr>
          <p:nvPr userDrawn="1">
            <p:custDataLst>
              <p:tags r:id="rId2"/>
            </p:custDataLst>
            <p:extLst>
              <p:ext uri="{D42A27DB-BD31-4B8C-83A1-F6EECF244321}">
                <p14:modId xmlns:p14="http://schemas.microsoft.com/office/powerpoint/2010/main" val="2437080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8CD5E083-1BE6-49F6-99BF-D001B00D6B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3F2024AA-F9EE-4DD6-BD38-23BF96BA1821}"/>
              </a:ext>
            </a:extLst>
          </p:cNvPr>
          <p:cNvSpPr>
            <a:spLocks noGrp="1"/>
          </p:cNvSpPr>
          <p:nvPr>
            <p:ph type="pic" sz="quarter" idx="18"/>
          </p:nvPr>
        </p:nvSpPr>
        <p:spPr>
          <a:xfrm>
            <a:off x="8127599" y="0"/>
            <a:ext cx="4064402" cy="6858000"/>
          </a:xfrm>
          <a:solidFill>
            <a:srgbClr val="E6E7E8"/>
          </a:solidFill>
        </p:spPr>
        <p:txBody>
          <a:bodyPr anchor="ctr"/>
          <a:lstStyle>
            <a:lvl1pPr marL="0" indent="0" algn="ctr">
              <a:buNone/>
              <a:defRPr/>
            </a:lvl1pPr>
          </a:lstStyle>
          <a:p>
            <a:r>
              <a:rPr lang="en-US"/>
              <a:t>Click icon to add picture</a:t>
            </a:r>
            <a:endParaRPr lang="en-GB"/>
          </a:p>
        </p:txBody>
      </p:sp>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6" y="393192"/>
            <a:ext cx="7197724" cy="548640"/>
          </a:xfrm>
        </p:spPr>
        <p:txBody>
          <a:bodyPr vert="horz"/>
          <a:lstStyle>
            <a:lvl1pPr>
              <a:defRPr>
                <a:solidFill>
                  <a:schemeClr val="bg1"/>
                </a:solidFill>
              </a:defRPr>
            </a:lvl1pPr>
          </a:lstStyle>
          <a:p>
            <a:r>
              <a:rPr lang="en-US"/>
              <a:t>H1 placeholder.</a:t>
            </a:r>
            <a:endParaRPr lang="en-GB"/>
          </a:p>
        </p:txBody>
      </p:sp>
      <p:sp>
        <p:nvSpPr>
          <p:cNvPr id="12" name="Content Placeholder 7">
            <a:extLst>
              <a:ext uri="{FF2B5EF4-FFF2-40B4-BE49-F238E27FC236}">
                <a16:creationId xmlns:a16="http://schemas.microsoft.com/office/drawing/2014/main" id="{58101BAE-7605-4C0B-A8A9-E4208462CBFB}"/>
              </a:ext>
            </a:extLst>
          </p:cNvPr>
          <p:cNvSpPr>
            <a:spLocks noGrp="1"/>
          </p:cNvSpPr>
          <p:nvPr>
            <p:ph sz="quarter" idx="21" hasCustomPrompt="1"/>
          </p:nvPr>
        </p:nvSpPr>
        <p:spPr>
          <a:xfrm>
            <a:off x="587375" y="1423348"/>
            <a:ext cx="7197724" cy="435970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Bullet level 1</a:t>
            </a:r>
          </a:p>
          <a:p>
            <a:pPr lvl="1"/>
            <a:r>
              <a:rPr lang="en-US"/>
              <a:t>Second level</a:t>
            </a:r>
          </a:p>
          <a:p>
            <a:pPr lvl="2"/>
            <a:r>
              <a:rPr lang="en-US"/>
              <a:t>Third level</a:t>
            </a:r>
          </a:p>
        </p:txBody>
      </p:sp>
      <p:sp>
        <p:nvSpPr>
          <p:cNvPr id="16" name="Slide Number Placeholder 2">
            <a:extLst>
              <a:ext uri="{FF2B5EF4-FFF2-40B4-BE49-F238E27FC236}">
                <a16:creationId xmlns:a16="http://schemas.microsoft.com/office/drawing/2014/main" id="{432C30DD-9B51-4679-A8FF-06013357F706}"/>
              </a:ext>
            </a:extLst>
          </p:cNvPr>
          <p:cNvSpPr txBox="1">
            <a:spLocks/>
          </p:cNvSpPr>
          <p:nvPr userDrawn="1"/>
        </p:nvSpPr>
        <p:spPr>
          <a:xfrm>
            <a:off x="11494008" y="6476999"/>
            <a:ext cx="382601" cy="228600"/>
          </a:xfrm>
          <a:prstGeom prst="rect">
            <a:avLst/>
          </a:prstGeom>
        </p:spPr>
        <p:txBody>
          <a:bodyPr vert="horz" lIns="91440" tIns="0" rIns="91440" bIns="0" rtlCol="0" anchor="ctr" anchorCtr="0"/>
          <a:lstStyle>
            <a:defPPr>
              <a:defRPr lang="en-US"/>
            </a:defPPr>
            <a:lvl1pPr algn="r">
              <a:defRPr sz="1000">
                <a:solidFill>
                  <a:srgbClr val="E0044E"/>
                </a:solidFill>
                <a:latin typeface="Segoe UI" panose="020B0502040204020203" pitchFamily="34" charset="0"/>
                <a:cs typeface="Segoe UI" panose="020B0502040204020203" pitchFamily="34" charset="0"/>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lvl="0"/>
            <a:fld id="{E20330FD-FE2A-483E-B0C7-29AD7FB3CAEB}" type="slidenum">
              <a:rPr lang="en-GB" noProof="0" smtClean="0">
                <a:solidFill>
                  <a:schemeClr val="tx1"/>
                </a:solidFill>
              </a:rPr>
              <a:pPr lvl="0"/>
              <a:t>‹#›</a:t>
            </a:fld>
            <a:endParaRPr lang="en-GB" noProof="0">
              <a:solidFill>
                <a:schemeClr val="tx1"/>
              </a:solidFill>
            </a:endParaRPr>
          </a:p>
        </p:txBody>
      </p:sp>
      <p:pic>
        <p:nvPicPr>
          <p:cNvPr id="10" name="Graphic 9">
            <a:extLst>
              <a:ext uri="{FF2B5EF4-FFF2-40B4-BE49-F238E27FC236}">
                <a16:creationId xmlns:a16="http://schemas.microsoft.com/office/drawing/2014/main" id="{1F85C259-F16D-4647-BE05-045F6B76E684}"/>
              </a:ext>
            </a:extLst>
          </p:cNvPr>
          <p:cNvPicPr>
            <a:picLocks/>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607040" y="6556248"/>
            <a:ext cx="813816" cy="82296"/>
          </a:xfrm>
          <a:prstGeom prst="rect">
            <a:avLst/>
          </a:prstGeom>
        </p:spPr>
      </p:pic>
    </p:spTree>
    <p:custDataLst>
      <p:tags r:id="rId1"/>
    </p:custDataLst>
    <p:extLst>
      <p:ext uri="{BB962C8B-B14F-4D97-AF65-F5344CB8AC3E}">
        <p14:creationId xmlns:p14="http://schemas.microsoft.com/office/powerpoint/2010/main" val="1605336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ext with Sidebar 1/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B44A80-1FEF-4767-A129-5F4549BF7B11}"/>
              </a:ext>
            </a:extLst>
          </p:cNvPr>
          <p:cNvGraphicFramePr>
            <a:graphicFrameLocks noChangeAspect="1"/>
          </p:cNvGraphicFramePr>
          <p:nvPr userDrawn="1">
            <p:custDataLst>
              <p:tags r:id="rId2"/>
            </p:custDataLst>
            <p:extLst>
              <p:ext uri="{D42A27DB-BD31-4B8C-83A1-F6EECF244321}">
                <p14:modId xmlns:p14="http://schemas.microsoft.com/office/powerpoint/2010/main" val="2570823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5" name="Object 4" hidden="1">
                        <a:extLst>
                          <a:ext uri="{FF2B5EF4-FFF2-40B4-BE49-F238E27FC236}">
                            <a16:creationId xmlns:a16="http://schemas.microsoft.com/office/drawing/2014/main" id="{69B44A80-1FEF-4767-A129-5F4549BF7B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F9C2B463-C72D-40B5-B0B8-FE4FE74AE8AA}"/>
              </a:ext>
            </a:extLst>
          </p:cNvPr>
          <p:cNvSpPr>
            <a:spLocks/>
          </p:cNvSpPr>
          <p:nvPr userDrawn="1"/>
        </p:nvSpPr>
        <p:spPr>
          <a:xfrm>
            <a:off x="8127599" y="0"/>
            <a:ext cx="406440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7" y="393192"/>
            <a:ext cx="7197724" cy="548640"/>
          </a:xfrm>
        </p:spPr>
        <p:txBody>
          <a:bodyPr vert="horz"/>
          <a:lstStyle>
            <a:lvl1pPr>
              <a:defRPr>
                <a:solidFill>
                  <a:schemeClr val="accent1"/>
                </a:solidFill>
              </a:defRPr>
            </a:lvl1pPr>
          </a:lstStyle>
          <a:p>
            <a:r>
              <a:rPr lang="en-US"/>
              <a:t>H1 placeholder.</a:t>
            </a:r>
            <a:endParaRPr lang="en-GB"/>
          </a:p>
        </p:txBody>
      </p:sp>
      <p:sp>
        <p:nvSpPr>
          <p:cNvPr id="15" name="Content Placeholder 7">
            <a:extLst>
              <a:ext uri="{FF2B5EF4-FFF2-40B4-BE49-F238E27FC236}">
                <a16:creationId xmlns:a16="http://schemas.microsoft.com/office/drawing/2014/main" id="{FE1FB661-5DA4-4CF2-BCF4-FCA29D734A40}"/>
              </a:ext>
            </a:extLst>
          </p:cNvPr>
          <p:cNvSpPr>
            <a:spLocks noGrp="1"/>
          </p:cNvSpPr>
          <p:nvPr>
            <p:ph sz="quarter" idx="21" hasCustomPrompt="1"/>
          </p:nvPr>
        </p:nvSpPr>
        <p:spPr>
          <a:xfrm>
            <a:off x="587375" y="1423348"/>
            <a:ext cx="7197724" cy="4359707"/>
          </a:xfrm>
        </p:spPr>
        <p:txBody>
          <a:bodyPr/>
          <a:lstStyle/>
          <a:p>
            <a:pPr lvl="0"/>
            <a:r>
              <a:rPr lang="en-US"/>
              <a:t>Bullet level 1</a:t>
            </a:r>
          </a:p>
          <a:p>
            <a:pPr lvl="1"/>
            <a:r>
              <a:rPr lang="en-US"/>
              <a:t>Second level</a:t>
            </a:r>
          </a:p>
          <a:p>
            <a:pPr lvl="2"/>
            <a:r>
              <a:rPr lang="en-US"/>
              <a:t>Third level</a:t>
            </a:r>
          </a:p>
        </p:txBody>
      </p:sp>
      <p:sp>
        <p:nvSpPr>
          <p:cNvPr id="6" name="Text Placeholder 5">
            <a:extLst>
              <a:ext uri="{FF2B5EF4-FFF2-40B4-BE49-F238E27FC236}">
                <a16:creationId xmlns:a16="http://schemas.microsoft.com/office/drawing/2014/main" id="{3365535F-127D-4921-97BA-DEDBE3BD1F10}"/>
              </a:ext>
            </a:extLst>
          </p:cNvPr>
          <p:cNvSpPr>
            <a:spLocks noGrp="1"/>
          </p:cNvSpPr>
          <p:nvPr>
            <p:ph type="body" sz="quarter" idx="22" hasCustomPrompt="1"/>
          </p:nvPr>
        </p:nvSpPr>
        <p:spPr>
          <a:xfrm>
            <a:off x="8628064" y="1808163"/>
            <a:ext cx="2976560" cy="4351337"/>
          </a:xfrm>
        </p:spPr>
        <p:txBody>
          <a:bodyPr/>
          <a:lstStyle>
            <a:lvl1pPr marL="228600" indent="-228600">
              <a:buClr>
                <a:schemeClr val="bg1"/>
              </a:buClr>
              <a:defRPr sz="1200">
                <a:solidFill>
                  <a:schemeClr val="bg1"/>
                </a:solidFill>
                <a:latin typeface="+mn-lt"/>
              </a:defRPr>
            </a:lvl1pPr>
            <a:lvl2pPr marL="457200" indent="-228600">
              <a:buClr>
                <a:schemeClr val="bg1"/>
              </a:buClr>
              <a:defRPr sz="1200">
                <a:solidFill>
                  <a:schemeClr val="bg1"/>
                </a:solidFill>
                <a:latin typeface="+mn-lt"/>
              </a:defRPr>
            </a:lvl2pPr>
            <a:lvl3pPr marL="685800" indent="-228600">
              <a:buClr>
                <a:schemeClr val="bg1"/>
              </a:buClr>
              <a:defRPr sz="1200">
                <a:solidFill>
                  <a:schemeClr val="bg1"/>
                </a:solidFill>
                <a:latin typeface="+mn-lt"/>
              </a:defRPr>
            </a:lvl3pPr>
            <a:lvl4pPr marL="228600" indent="-228600">
              <a:buClr>
                <a:schemeClr val="bg1"/>
              </a:buClr>
              <a:defRPr sz="1200">
                <a:solidFill>
                  <a:schemeClr val="bg1"/>
                </a:solidFill>
                <a:latin typeface="+mn-lt"/>
              </a:defRPr>
            </a:lvl4pPr>
            <a:lvl5pPr marL="228600" indent="-228600">
              <a:buClr>
                <a:schemeClr val="bg1"/>
              </a:buClr>
              <a:defRPr sz="1200">
                <a:solidFill>
                  <a:schemeClr val="bg1"/>
                </a:solidFill>
                <a:latin typeface="+mn-lt"/>
              </a:defRPr>
            </a:lvl5pPr>
          </a:lstStyle>
          <a:p>
            <a:pPr lvl="0"/>
            <a:r>
              <a:rPr lang="en-US"/>
              <a:t>Bullet level 1</a:t>
            </a:r>
          </a:p>
          <a:p>
            <a:pPr lvl="1"/>
            <a:r>
              <a:rPr lang="en-US"/>
              <a:t>Second level</a:t>
            </a:r>
          </a:p>
          <a:p>
            <a:pPr lvl="2"/>
            <a:r>
              <a:rPr lang="en-US"/>
              <a:t>Third level</a:t>
            </a:r>
          </a:p>
        </p:txBody>
      </p:sp>
      <p:sp>
        <p:nvSpPr>
          <p:cNvPr id="16" name="Text Placeholder 15">
            <a:extLst>
              <a:ext uri="{FF2B5EF4-FFF2-40B4-BE49-F238E27FC236}">
                <a16:creationId xmlns:a16="http://schemas.microsoft.com/office/drawing/2014/main" id="{BC3FF237-0FE6-4DC8-B5D7-E392262EE040}"/>
              </a:ext>
            </a:extLst>
          </p:cNvPr>
          <p:cNvSpPr>
            <a:spLocks noGrp="1"/>
          </p:cNvSpPr>
          <p:nvPr>
            <p:ph type="body" sz="quarter" idx="23" hasCustomPrompt="1"/>
          </p:nvPr>
        </p:nvSpPr>
        <p:spPr>
          <a:xfrm>
            <a:off x="8628064" y="682625"/>
            <a:ext cx="2976560" cy="714375"/>
          </a:xfrm>
        </p:spPr>
        <p:txBody>
          <a:bodyPr anchor="ctr" anchorCtr="0">
            <a:normAutofit/>
          </a:bodyPr>
          <a:lstStyle>
            <a:lvl1pPr marL="0" indent="0">
              <a:buNone/>
              <a:defRPr sz="2000">
                <a:solidFill>
                  <a:schemeClr val="bg1"/>
                </a:solidFill>
              </a:defRPr>
            </a:lvl1pPr>
          </a:lstStyle>
          <a:p>
            <a:pPr lvl="0"/>
            <a:r>
              <a:rPr lang="en-US"/>
              <a:t>Sidebar Title Placeholder</a:t>
            </a:r>
          </a:p>
        </p:txBody>
      </p:sp>
      <p:sp>
        <p:nvSpPr>
          <p:cNvPr id="19" name="Slide Number Placeholder 2">
            <a:extLst>
              <a:ext uri="{FF2B5EF4-FFF2-40B4-BE49-F238E27FC236}">
                <a16:creationId xmlns:a16="http://schemas.microsoft.com/office/drawing/2014/main" id="{43A90FCE-DEF7-4DD2-B4AB-D86E1A9155B2}"/>
              </a:ext>
            </a:extLst>
          </p:cNvPr>
          <p:cNvSpPr txBox="1">
            <a:spLocks/>
          </p:cNvSpPr>
          <p:nvPr userDrawn="1"/>
        </p:nvSpPr>
        <p:spPr>
          <a:xfrm>
            <a:off x="11494008" y="6476999"/>
            <a:ext cx="382601" cy="228600"/>
          </a:xfrm>
          <a:prstGeom prst="rect">
            <a:avLst/>
          </a:prstGeom>
        </p:spPr>
        <p:txBody>
          <a:bodyPr vert="horz" lIns="91440" tIns="0" rIns="91440" bIns="0" rtlCol="0" anchor="ctr" anchorCtr="0"/>
          <a:lstStyle>
            <a:defPPr>
              <a:defRPr lang="en-US"/>
            </a:defPPr>
            <a:lvl1pPr algn="r">
              <a:defRPr sz="1000">
                <a:solidFill>
                  <a:srgbClr val="E0044E"/>
                </a:solidFill>
                <a:latin typeface="Segoe UI" panose="020B0502040204020203" pitchFamily="34" charset="0"/>
                <a:cs typeface="Segoe UI" panose="020B0502040204020203" pitchFamily="34" charset="0"/>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lvl="0"/>
            <a:fld id="{E20330FD-FE2A-483E-B0C7-29AD7FB3CAEB}" type="slidenum">
              <a:rPr lang="en-GB" noProof="0" smtClean="0">
                <a:solidFill>
                  <a:schemeClr val="bg1"/>
                </a:solidFill>
              </a:rPr>
              <a:pPr lvl="0"/>
              <a:t>‹#›</a:t>
            </a:fld>
            <a:endParaRPr lang="en-GB" noProof="0">
              <a:solidFill>
                <a:schemeClr val="bg1"/>
              </a:solidFill>
            </a:endParaRPr>
          </a:p>
        </p:txBody>
      </p:sp>
      <p:pic>
        <p:nvPicPr>
          <p:cNvPr id="12" name="Graphic 11">
            <a:extLst>
              <a:ext uri="{FF2B5EF4-FFF2-40B4-BE49-F238E27FC236}">
                <a16:creationId xmlns:a16="http://schemas.microsoft.com/office/drawing/2014/main" id="{893AFFD0-976B-472E-99C4-96F89BE3797E}"/>
              </a:ext>
            </a:extLst>
          </p:cNvPr>
          <p:cNvPicPr>
            <a:picLocks/>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607040" y="6556248"/>
            <a:ext cx="813816" cy="82296"/>
          </a:xfrm>
          <a:prstGeom prst="rect">
            <a:avLst/>
          </a:prstGeom>
        </p:spPr>
      </p:pic>
    </p:spTree>
    <p:custDataLst>
      <p:tags r:id="rId1"/>
    </p:custDataLst>
    <p:extLst>
      <p:ext uri="{BB962C8B-B14F-4D97-AF65-F5344CB8AC3E}">
        <p14:creationId xmlns:p14="http://schemas.microsoft.com/office/powerpoint/2010/main" val="521322006"/>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D454BC6-69AC-4FFE-A447-A56AC878ED13}"/>
              </a:ext>
            </a:extLst>
          </p:cNvPr>
          <p:cNvGraphicFramePr>
            <a:graphicFrameLocks noChangeAspect="1"/>
          </p:cNvGraphicFramePr>
          <p:nvPr userDrawn="1">
            <p:custDataLst>
              <p:tags r:id="rId2"/>
            </p:custDataLst>
            <p:extLst>
              <p:ext uri="{D42A27DB-BD31-4B8C-83A1-F6EECF244321}">
                <p14:modId xmlns:p14="http://schemas.microsoft.com/office/powerpoint/2010/main" val="3606620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FD454BC6-69AC-4FFE-A447-A56AC878ED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31FE20C-F951-42FE-B20F-31B0A7A3C60B}"/>
              </a:ext>
            </a:extLst>
          </p:cNvPr>
          <p:cNvSpPr>
            <a:spLocks noGrp="1"/>
          </p:cNvSpPr>
          <p:nvPr>
            <p:ph sz="quarter" idx="25" hasCustomPrompt="1"/>
          </p:nvPr>
        </p:nvSpPr>
        <p:spPr>
          <a:xfrm>
            <a:off x="6026976" y="2563255"/>
            <a:ext cx="5076000" cy="3230565"/>
          </a:xfrm>
          <a:ln>
            <a:solidFill>
              <a:schemeClr val="bg1">
                <a:alpha val="0"/>
              </a:schemeClr>
            </a:solidFill>
          </a:ln>
        </p:spPr>
        <p:txBody>
          <a:bodyPr/>
          <a:lstStyle>
            <a:lvl1pPr>
              <a:defRPr/>
            </a:lvl1pPr>
          </a:lstStyle>
          <a:p>
            <a:pPr lvl="0"/>
            <a:r>
              <a:rPr lang="en-US"/>
              <a:t>Bullet level 1</a:t>
            </a:r>
          </a:p>
          <a:p>
            <a:pPr lvl="1"/>
            <a:r>
              <a:rPr lang="en-US"/>
              <a:t>Second level</a:t>
            </a:r>
          </a:p>
          <a:p>
            <a:pPr lvl="2"/>
            <a:r>
              <a:rPr lang="en-US"/>
              <a:t>Third level</a:t>
            </a:r>
          </a:p>
        </p:txBody>
      </p:sp>
      <p:sp>
        <p:nvSpPr>
          <p:cNvPr id="5" name="Content Placeholder 4">
            <a:extLst>
              <a:ext uri="{FF2B5EF4-FFF2-40B4-BE49-F238E27FC236}">
                <a16:creationId xmlns:a16="http://schemas.microsoft.com/office/drawing/2014/main" id="{31DA794C-3A00-428D-BAF1-66A8B08C89F1}"/>
              </a:ext>
            </a:extLst>
          </p:cNvPr>
          <p:cNvSpPr>
            <a:spLocks noGrp="1"/>
          </p:cNvSpPr>
          <p:nvPr>
            <p:ph sz="quarter" idx="24" hasCustomPrompt="1"/>
          </p:nvPr>
        </p:nvSpPr>
        <p:spPr>
          <a:xfrm>
            <a:off x="587376" y="2563255"/>
            <a:ext cx="5076000" cy="3230563"/>
          </a:xfrm>
          <a:prstGeom prst="callout1">
            <a:avLst>
              <a:gd name="adj1" fmla="val 1334"/>
              <a:gd name="adj2" fmla="val 103476"/>
              <a:gd name="adj3" fmla="val 92424"/>
              <a:gd name="adj4" fmla="val 103637"/>
            </a:avLst>
          </a:prstGeom>
          <a:ln>
            <a:solidFill>
              <a:srgbClr val="BCBEC0"/>
            </a:solidFill>
          </a:ln>
        </p:spPr>
        <p:txBody>
          <a:bodyPr/>
          <a:lstStyle>
            <a:lvl1pPr>
              <a:defRPr/>
            </a:lvl1pPr>
          </a:lstStyle>
          <a:p>
            <a:pPr lvl="0"/>
            <a:r>
              <a:rPr lang="en-US"/>
              <a:t>Bullet level 1</a:t>
            </a:r>
          </a:p>
          <a:p>
            <a:pPr lvl="1"/>
            <a:r>
              <a:rPr lang="en-US"/>
              <a:t>Second level</a:t>
            </a:r>
          </a:p>
          <a:p>
            <a:pPr lvl="2"/>
            <a:r>
              <a:rPr lang="en-US"/>
              <a:t>Third level</a:t>
            </a:r>
          </a:p>
        </p:txBody>
      </p:sp>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5" y="393192"/>
            <a:ext cx="10980737" cy="548640"/>
          </a:xfrm>
        </p:spPr>
        <p:txBody>
          <a:bodyPr vert="horz"/>
          <a:lstStyle>
            <a:lvl1pPr>
              <a:defRPr>
                <a:solidFill>
                  <a:schemeClr val="accent1"/>
                </a:solidFill>
              </a:defRPr>
            </a:lvl1pPr>
          </a:lstStyle>
          <a:p>
            <a:r>
              <a:rPr lang="en-US"/>
              <a:t>H1 placeholder.</a:t>
            </a:r>
            <a:endParaRPr lang="en-GB"/>
          </a:p>
        </p:txBody>
      </p:sp>
      <p:sp>
        <p:nvSpPr>
          <p:cNvPr id="22" name="Text Placeholder 21">
            <a:extLst>
              <a:ext uri="{FF2B5EF4-FFF2-40B4-BE49-F238E27FC236}">
                <a16:creationId xmlns:a16="http://schemas.microsoft.com/office/drawing/2014/main" id="{BA37F87F-3225-4F3D-8EEF-A966FB2E3CF3}"/>
              </a:ext>
            </a:extLst>
          </p:cNvPr>
          <p:cNvSpPr>
            <a:spLocks noGrp="1"/>
          </p:cNvSpPr>
          <p:nvPr>
            <p:ph type="body" sz="quarter" idx="19" hasCustomPrompt="1"/>
          </p:nvPr>
        </p:nvSpPr>
        <p:spPr>
          <a:xfrm>
            <a:off x="587375" y="1426464"/>
            <a:ext cx="10980738" cy="1048904"/>
          </a:xfrm>
        </p:spPr>
        <p:txBody>
          <a:bodyPr/>
          <a:lstStyle>
            <a:lvl1pPr marL="0" indent="0">
              <a:buFont typeface="Arial" panose="020B0604020202020204" pitchFamily="34" charset="0"/>
              <a:buChar char="​"/>
              <a:defRPr/>
            </a:lvl1pPr>
            <a:lvl2pPr>
              <a:buNone/>
              <a:defRPr/>
            </a:lvl2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pPr lvl="0"/>
            <a:endParaRPr lang="en-US"/>
          </a:p>
        </p:txBody>
      </p:sp>
    </p:spTree>
    <p:custDataLst>
      <p:tags r:id="rId1"/>
    </p:custDataLst>
    <p:extLst>
      <p:ext uri="{BB962C8B-B14F-4D97-AF65-F5344CB8AC3E}">
        <p14:creationId xmlns:p14="http://schemas.microsoft.com/office/powerpoint/2010/main" val="1931175510"/>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B2B4DAB-C7D9-4E53-ADF4-2D5FF65E1236}"/>
              </a:ext>
            </a:extLst>
          </p:cNvPr>
          <p:cNvGraphicFramePr>
            <a:graphicFrameLocks noChangeAspect="1"/>
          </p:cNvGraphicFramePr>
          <p:nvPr userDrawn="1">
            <p:custDataLst>
              <p:tags r:id="rId2"/>
            </p:custDataLst>
            <p:extLst>
              <p:ext uri="{D42A27DB-BD31-4B8C-83A1-F6EECF244321}">
                <p14:modId xmlns:p14="http://schemas.microsoft.com/office/powerpoint/2010/main" val="1857418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7B2B4DAB-C7D9-4E53-ADF4-2D5FF65E12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ntent Placeholder 4">
            <a:extLst>
              <a:ext uri="{FF2B5EF4-FFF2-40B4-BE49-F238E27FC236}">
                <a16:creationId xmlns:a16="http://schemas.microsoft.com/office/drawing/2014/main" id="{5F3D312F-6E3D-402F-8F59-66C2EAD7C3D1}"/>
              </a:ext>
            </a:extLst>
          </p:cNvPr>
          <p:cNvSpPr>
            <a:spLocks noGrp="1"/>
          </p:cNvSpPr>
          <p:nvPr>
            <p:ph sz="quarter" idx="25" hasCustomPrompt="1"/>
          </p:nvPr>
        </p:nvSpPr>
        <p:spPr>
          <a:xfrm>
            <a:off x="587376" y="2566566"/>
            <a:ext cx="3265199" cy="3230563"/>
          </a:xfrm>
          <a:prstGeom prst="callout1">
            <a:avLst>
              <a:gd name="adj1" fmla="val 1177"/>
              <a:gd name="adj2" fmla="val 105343"/>
              <a:gd name="adj3" fmla="val 92424"/>
              <a:gd name="adj4" fmla="val 105504"/>
            </a:avLst>
          </a:prstGeom>
          <a:ln>
            <a:solidFill>
              <a:srgbClr val="BCBEC0"/>
            </a:solidFill>
          </a:ln>
        </p:spPr>
        <p:txBody>
          <a:bodyPr/>
          <a:lstStyle>
            <a:lvl1pPr>
              <a:defRPr/>
            </a:lvl1pPr>
          </a:lstStyle>
          <a:p>
            <a:pPr lvl="0"/>
            <a:r>
              <a:rPr lang="en-US"/>
              <a:t>Bullet level 1</a:t>
            </a:r>
          </a:p>
          <a:p>
            <a:pPr lvl="1"/>
            <a:r>
              <a:rPr lang="en-US"/>
              <a:t>Second level</a:t>
            </a:r>
          </a:p>
          <a:p>
            <a:pPr lvl="2"/>
            <a:r>
              <a:rPr lang="en-US"/>
              <a:t>Third level</a:t>
            </a:r>
          </a:p>
        </p:txBody>
      </p:sp>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4" y="393192"/>
            <a:ext cx="10980738" cy="548640"/>
          </a:xfrm>
        </p:spPr>
        <p:txBody>
          <a:bodyPr vert="horz"/>
          <a:lstStyle>
            <a:lvl1pPr>
              <a:defRPr>
                <a:solidFill>
                  <a:schemeClr val="accent1"/>
                </a:solidFill>
              </a:defRPr>
            </a:lvl1pPr>
          </a:lstStyle>
          <a:p>
            <a:r>
              <a:rPr lang="en-US"/>
              <a:t>H1 placeholder.</a:t>
            </a:r>
            <a:endParaRPr lang="en-GB"/>
          </a:p>
        </p:txBody>
      </p:sp>
      <p:sp>
        <p:nvSpPr>
          <p:cNvPr id="12" name="Content Placeholder 4">
            <a:extLst>
              <a:ext uri="{FF2B5EF4-FFF2-40B4-BE49-F238E27FC236}">
                <a16:creationId xmlns:a16="http://schemas.microsoft.com/office/drawing/2014/main" id="{88851574-5479-448D-9951-817359D0C185}"/>
              </a:ext>
            </a:extLst>
          </p:cNvPr>
          <p:cNvSpPr>
            <a:spLocks noGrp="1"/>
          </p:cNvSpPr>
          <p:nvPr>
            <p:ph sz="quarter" idx="26" hasCustomPrompt="1"/>
          </p:nvPr>
        </p:nvSpPr>
        <p:spPr>
          <a:xfrm>
            <a:off x="4212576" y="2566566"/>
            <a:ext cx="3265199" cy="3230563"/>
          </a:xfrm>
          <a:prstGeom prst="callout1">
            <a:avLst>
              <a:gd name="adj1" fmla="val 1177"/>
              <a:gd name="adj2" fmla="val 105343"/>
              <a:gd name="adj3" fmla="val 92424"/>
              <a:gd name="adj4" fmla="val 105504"/>
            </a:avLst>
          </a:prstGeom>
          <a:ln>
            <a:solidFill>
              <a:srgbClr val="BCBEC0"/>
            </a:solidFill>
          </a:ln>
        </p:spPr>
        <p:txBody>
          <a:bodyPr/>
          <a:lstStyle>
            <a:lvl1pPr>
              <a:defRPr/>
            </a:lvl1pPr>
          </a:lstStyle>
          <a:p>
            <a:pPr lvl="0"/>
            <a:r>
              <a:rPr lang="en-US"/>
              <a:t>Bullet level 1</a:t>
            </a:r>
          </a:p>
          <a:p>
            <a:pPr lvl="1"/>
            <a:r>
              <a:rPr lang="en-US"/>
              <a:t>Second level</a:t>
            </a:r>
          </a:p>
          <a:p>
            <a:pPr lvl="2"/>
            <a:r>
              <a:rPr lang="en-US"/>
              <a:t>Third level</a:t>
            </a:r>
          </a:p>
        </p:txBody>
      </p:sp>
      <p:sp>
        <p:nvSpPr>
          <p:cNvPr id="13" name="Content Placeholder 7">
            <a:extLst>
              <a:ext uri="{FF2B5EF4-FFF2-40B4-BE49-F238E27FC236}">
                <a16:creationId xmlns:a16="http://schemas.microsoft.com/office/drawing/2014/main" id="{E8BB1B25-D0FF-4E33-9A6B-C2A32F5D633D}"/>
              </a:ext>
            </a:extLst>
          </p:cNvPr>
          <p:cNvSpPr>
            <a:spLocks noGrp="1"/>
          </p:cNvSpPr>
          <p:nvPr>
            <p:ph sz="quarter" idx="27" hasCustomPrompt="1"/>
          </p:nvPr>
        </p:nvSpPr>
        <p:spPr>
          <a:xfrm>
            <a:off x="7837774" y="2566566"/>
            <a:ext cx="3265201" cy="3230565"/>
          </a:xfrm>
          <a:ln>
            <a:solidFill>
              <a:schemeClr val="bg1">
                <a:alpha val="0"/>
              </a:schemeClr>
            </a:solidFill>
          </a:ln>
        </p:spPr>
        <p:txBody>
          <a:bodyPr/>
          <a:lstStyle/>
          <a:p>
            <a:pPr lvl="0"/>
            <a:r>
              <a:rPr lang="en-US"/>
              <a:t>Bullet level 1</a:t>
            </a:r>
          </a:p>
          <a:p>
            <a:pPr lvl="1"/>
            <a:r>
              <a:rPr lang="en-US"/>
              <a:t>Second level</a:t>
            </a:r>
          </a:p>
          <a:p>
            <a:pPr lvl="2"/>
            <a:r>
              <a:rPr lang="en-US"/>
              <a:t>Third level</a:t>
            </a:r>
          </a:p>
        </p:txBody>
      </p:sp>
      <p:sp>
        <p:nvSpPr>
          <p:cNvPr id="9" name="Text Placeholder 21">
            <a:extLst>
              <a:ext uri="{FF2B5EF4-FFF2-40B4-BE49-F238E27FC236}">
                <a16:creationId xmlns:a16="http://schemas.microsoft.com/office/drawing/2014/main" id="{D334D84A-187E-426E-9265-C588336B624D}"/>
              </a:ext>
            </a:extLst>
          </p:cNvPr>
          <p:cNvSpPr>
            <a:spLocks noGrp="1"/>
          </p:cNvSpPr>
          <p:nvPr>
            <p:ph type="body" sz="quarter" idx="19" hasCustomPrompt="1"/>
          </p:nvPr>
        </p:nvSpPr>
        <p:spPr>
          <a:xfrm>
            <a:off x="587375" y="1426464"/>
            <a:ext cx="10980738" cy="1048904"/>
          </a:xfrm>
        </p:spPr>
        <p:txBody>
          <a:bodyPr/>
          <a:lstStyle>
            <a:lvl1pPr marL="0" indent="0">
              <a:buFont typeface="Arial" panose="020B0604020202020204" pitchFamily="34" charset="0"/>
              <a:buChar char="​"/>
              <a:defRPr/>
            </a:lvl1pPr>
            <a:lvl2pPr>
              <a:buNone/>
              <a:defRPr/>
            </a:lvl2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pPr lvl="0"/>
            <a:endParaRPr lang="en-US"/>
          </a:p>
        </p:txBody>
      </p:sp>
    </p:spTree>
    <p:custDataLst>
      <p:tags r:id="rId1"/>
    </p:custDataLst>
    <p:extLst>
      <p:ext uri="{BB962C8B-B14F-4D97-AF65-F5344CB8AC3E}">
        <p14:creationId xmlns:p14="http://schemas.microsoft.com/office/powerpoint/2010/main" val="1072796522"/>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ard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39184B4-2A33-4491-A5AA-EE0556AB06B2}"/>
              </a:ext>
            </a:extLst>
          </p:cNvPr>
          <p:cNvGraphicFramePr>
            <a:graphicFrameLocks noChangeAspect="1"/>
          </p:cNvGraphicFramePr>
          <p:nvPr userDrawn="1">
            <p:custDataLst>
              <p:tags r:id="rId2"/>
            </p:custDataLst>
            <p:extLst>
              <p:ext uri="{D42A27DB-BD31-4B8C-83A1-F6EECF244321}">
                <p14:modId xmlns:p14="http://schemas.microsoft.com/office/powerpoint/2010/main" val="3460735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039184B4-2A33-4491-A5AA-EE0556AB06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Freeform: Shape 21">
            <a:extLst>
              <a:ext uri="{FF2B5EF4-FFF2-40B4-BE49-F238E27FC236}">
                <a16:creationId xmlns:a16="http://schemas.microsoft.com/office/drawing/2014/main" id="{0002D17C-DD3C-4038-BB82-1F2B0CC889DB}"/>
              </a:ext>
            </a:extLst>
          </p:cNvPr>
          <p:cNvSpPr>
            <a:spLocks noChangeAspect="1"/>
          </p:cNvSpPr>
          <p:nvPr userDrawn="1"/>
        </p:nvSpPr>
        <p:spPr>
          <a:xfrm>
            <a:off x="10475976" y="1431636"/>
            <a:ext cx="1716024" cy="1784788"/>
          </a:xfrm>
          <a:custGeom>
            <a:avLst/>
            <a:gdLst>
              <a:gd name="connsiteX0" fmla="*/ 719995 w 1448982"/>
              <a:gd name="connsiteY0" fmla="*/ 1119378 h 1507045"/>
              <a:gd name="connsiteX1" fmla="*/ 1331309 w 1448982"/>
              <a:gd name="connsiteY1" fmla="*/ 1119378 h 1507045"/>
              <a:gd name="connsiteX2" fmla="*/ 1404338 w 1448982"/>
              <a:gd name="connsiteY2" fmla="*/ 1135373 h 1507045"/>
              <a:gd name="connsiteX3" fmla="*/ 1448982 w 1448982"/>
              <a:gd name="connsiteY3" fmla="*/ 1165809 h 1507045"/>
              <a:gd name="connsiteX4" fmla="*/ 1448982 w 1448982"/>
              <a:gd name="connsiteY4" fmla="*/ 1459947 h 1507045"/>
              <a:gd name="connsiteX5" fmla="*/ 1406401 w 1448982"/>
              <a:gd name="connsiteY5" fmla="*/ 1490049 h 1507045"/>
              <a:gd name="connsiteX6" fmla="*/ 1331309 w 1448982"/>
              <a:gd name="connsiteY6" fmla="*/ 1506950 h 1507045"/>
              <a:gd name="connsiteX7" fmla="*/ 719995 w 1448982"/>
              <a:gd name="connsiteY7" fmla="*/ 1506950 h 1507045"/>
              <a:gd name="connsiteX8" fmla="*/ 526256 w 1448982"/>
              <a:gd name="connsiteY8" fmla="*/ 1313116 h 1507045"/>
              <a:gd name="connsiteX9" fmla="*/ 719995 w 1448982"/>
              <a:gd name="connsiteY9" fmla="*/ 1119378 h 1507045"/>
              <a:gd name="connsiteX10" fmla="*/ 193834 w 1448982"/>
              <a:gd name="connsiteY10" fmla="*/ 1119378 h 1507045"/>
              <a:gd name="connsiteX11" fmla="*/ 194024 w 1448982"/>
              <a:gd name="connsiteY11" fmla="*/ 1119378 h 1507045"/>
              <a:gd name="connsiteX12" fmla="*/ 387763 w 1448982"/>
              <a:gd name="connsiteY12" fmla="*/ 1313307 h 1507045"/>
              <a:gd name="connsiteX13" fmla="*/ 193834 w 1448982"/>
              <a:gd name="connsiteY13" fmla="*/ 1507045 h 1507045"/>
              <a:gd name="connsiteX14" fmla="*/ 95 w 1448982"/>
              <a:gd name="connsiteY14" fmla="*/ 1313116 h 1507045"/>
              <a:gd name="connsiteX15" fmla="*/ 193834 w 1448982"/>
              <a:gd name="connsiteY15" fmla="*/ 1119378 h 1507045"/>
              <a:gd name="connsiteX16" fmla="*/ 193929 w 1448982"/>
              <a:gd name="connsiteY16" fmla="*/ 559784 h 1507045"/>
              <a:gd name="connsiteX17" fmla="*/ 805149 w 1448982"/>
              <a:gd name="connsiteY17" fmla="*/ 559784 h 1507045"/>
              <a:gd name="connsiteX18" fmla="*/ 813740 w 1448982"/>
              <a:gd name="connsiteY18" fmla="*/ 559784 h 1507045"/>
              <a:gd name="connsiteX19" fmla="*/ 1003230 w 1448982"/>
              <a:gd name="connsiteY19" fmla="*/ 757866 h 1507045"/>
              <a:gd name="connsiteX20" fmla="*/ 805149 w 1448982"/>
              <a:gd name="connsiteY20" fmla="*/ 947356 h 1507045"/>
              <a:gd name="connsiteX21" fmla="*/ 193929 w 1448982"/>
              <a:gd name="connsiteY21" fmla="*/ 947356 h 1507045"/>
              <a:gd name="connsiteX22" fmla="*/ 95 w 1448982"/>
              <a:gd name="connsiteY22" fmla="*/ 753523 h 1507045"/>
              <a:gd name="connsiteX23" fmla="*/ 193929 w 1448982"/>
              <a:gd name="connsiteY23" fmla="*/ 559784 h 1507045"/>
              <a:gd name="connsiteX24" fmla="*/ 1331214 w 1448982"/>
              <a:gd name="connsiteY24" fmla="*/ 559689 h 1507045"/>
              <a:gd name="connsiteX25" fmla="*/ 1406663 w 1448982"/>
              <a:gd name="connsiteY25" fmla="*/ 574922 h 1507045"/>
              <a:gd name="connsiteX26" fmla="*/ 1448982 w 1448982"/>
              <a:gd name="connsiteY26" fmla="*/ 603454 h 1507045"/>
              <a:gd name="connsiteX27" fmla="*/ 1448982 w 1448982"/>
              <a:gd name="connsiteY27" fmla="*/ 903636 h 1507045"/>
              <a:gd name="connsiteX28" fmla="*/ 1406719 w 1448982"/>
              <a:gd name="connsiteY28" fmla="*/ 932131 h 1507045"/>
              <a:gd name="connsiteX29" fmla="*/ 1331309 w 1448982"/>
              <a:gd name="connsiteY29" fmla="*/ 947356 h 1507045"/>
              <a:gd name="connsiteX30" fmla="*/ 1331214 w 1448982"/>
              <a:gd name="connsiteY30" fmla="*/ 947356 h 1507045"/>
              <a:gd name="connsiteX31" fmla="*/ 1137381 w 1448982"/>
              <a:gd name="connsiteY31" fmla="*/ 753523 h 1507045"/>
              <a:gd name="connsiteX32" fmla="*/ 1331214 w 1448982"/>
              <a:gd name="connsiteY32" fmla="*/ 559689 h 1507045"/>
              <a:gd name="connsiteX33" fmla="*/ 719995 w 1448982"/>
              <a:gd name="connsiteY33" fmla="*/ 95 h 1507045"/>
              <a:gd name="connsiteX34" fmla="*/ 1331309 w 1448982"/>
              <a:gd name="connsiteY34" fmla="*/ 95 h 1507045"/>
              <a:gd name="connsiteX35" fmla="*/ 1406727 w 1448982"/>
              <a:gd name="connsiteY35" fmla="*/ 15357 h 1507045"/>
              <a:gd name="connsiteX36" fmla="*/ 1448982 w 1448982"/>
              <a:gd name="connsiteY36" fmla="*/ 43864 h 1507045"/>
              <a:gd name="connsiteX37" fmla="*/ 1448982 w 1448982"/>
              <a:gd name="connsiteY37" fmla="*/ 343951 h 1507045"/>
              <a:gd name="connsiteX38" fmla="*/ 1406719 w 1448982"/>
              <a:gd name="connsiteY38" fmla="*/ 372444 h 1507045"/>
              <a:gd name="connsiteX39" fmla="*/ 1331309 w 1448982"/>
              <a:gd name="connsiteY39" fmla="*/ 387668 h 1507045"/>
              <a:gd name="connsiteX40" fmla="*/ 719995 w 1448982"/>
              <a:gd name="connsiteY40" fmla="*/ 387668 h 1507045"/>
              <a:gd name="connsiteX41" fmla="*/ 530504 w 1448982"/>
              <a:gd name="connsiteY41" fmla="*/ 198177 h 1507045"/>
              <a:gd name="connsiteX42" fmla="*/ 719995 w 1448982"/>
              <a:gd name="connsiteY42" fmla="*/ 95 h 1507045"/>
              <a:gd name="connsiteX43" fmla="*/ 193929 w 1448982"/>
              <a:gd name="connsiteY43" fmla="*/ 0 h 1507045"/>
              <a:gd name="connsiteX44" fmla="*/ 387668 w 1448982"/>
              <a:gd name="connsiteY44" fmla="*/ 193929 h 1507045"/>
              <a:gd name="connsiteX45" fmla="*/ 193834 w 1448982"/>
              <a:gd name="connsiteY45" fmla="*/ 387668 h 1507045"/>
              <a:gd name="connsiteX46" fmla="*/ 193739 w 1448982"/>
              <a:gd name="connsiteY46" fmla="*/ 387668 h 1507045"/>
              <a:gd name="connsiteX47" fmla="*/ 0 w 1448982"/>
              <a:gd name="connsiteY47" fmla="*/ 193738 h 1507045"/>
              <a:gd name="connsiteX48" fmla="*/ 193929 w 1448982"/>
              <a:gd name="connsiteY48" fmla="*/ 0 h 150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48982" h="1507045">
                <a:moveTo>
                  <a:pt x="719995" y="1119378"/>
                </a:moveTo>
                <a:lnTo>
                  <a:pt x="1331309" y="1119378"/>
                </a:lnTo>
                <a:cubicBezTo>
                  <a:pt x="1357231" y="1119952"/>
                  <a:pt x="1381892" y="1125601"/>
                  <a:pt x="1404338" y="1135373"/>
                </a:cubicBezTo>
                <a:lnTo>
                  <a:pt x="1448982" y="1165809"/>
                </a:lnTo>
                <a:lnTo>
                  <a:pt x="1448982" y="1459947"/>
                </a:lnTo>
                <a:lnTo>
                  <a:pt x="1406401" y="1490049"/>
                </a:lnTo>
                <a:cubicBezTo>
                  <a:pt x="1383434" y="1500370"/>
                  <a:pt x="1358065" y="1506357"/>
                  <a:pt x="1331309" y="1506950"/>
                </a:cubicBezTo>
                <a:lnTo>
                  <a:pt x="719995" y="1506950"/>
                </a:lnTo>
                <a:cubicBezTo>
                  <a:pt x="612982" y="1506893"/>
                  <a:pt x="526256" y="1420130"/>
                  <a:pt x="526256" y="1313116"/>
                </a:cubicBezTo>
                <a:cubicBezTo>
                  <a:pt x="526256" y="1206112"/>
                  <a:pt x="613000" y="1119378"/>
                  <a:pt x="719995" y="1119378"/>
                </a:cubicBezTo>
                <a:close/>
                <a:moveTo>
                  <a:pt x="193834" y="1119378"/>
                </a:moveTo>
                <a:cubicBezTo>
                  <a:pt x="193900" y="1119378"/>
                  <a:pt x="193958" y="1119378"/>
                  <a:pt x="194024" y="1119378"/>
                </a:cubicBezTo>
                <a:cubicBezTo>
                  <a:pt x="301076" y="1119425"/>
                  <a:pt x="387820" y="1206255"/>
                  <a:pt x="387763" y="1313307"/>
                </a:cubicBezTo>
                <a:cubicBezTo>
                  <a:pt x="387715" y="1420358"/>
                  <a:pt x="300885" y="1507093"/>
                  <a:pt x="193834" y="1507045"/>
                </a:cubicBezTo>
                <a:cubicBezTo>
                  <a:pt x="86782" y="1506988"/>
                  <a:pt x="48" y="1420168"/>
                  <a:pt x="95" y="1313116"/>
                </a:cubicBezTo>
                <a:cubicBezTo>
                  <a:pt x="143" y="1206141"/>
                  <a:pt x="86859" y="1119425"/>
                  <a:pt x="193834" y="1119378"/>
                </a:cubicBezTo>
                <a:close/>
                <a:moveTo>
                  <a:pt x="193929" y="559784"/>
                </a:moveTo>
                <a:lnTo>
                  <a:pt x="805149" y="559784"/>
                </a:lnTo>
                <a:cubicBezTo>
                  <a:pt x="808015" y="559717"/>
                  <a:pt x="810882" y="559717"/>
                  <a:pt x="813740" y="559784"/>
                </a:cubicBezTo>
                <a:cubicBezTo>
                  <a:pt x="920763" y="562156"/>
                  <a:pt x="1005602" y="650843"/>
                  <a:pt x="1003230" y="757866"/>
                </a:cubicBezTo>
                <a:cubicBezTo>
                  <a:pt x="1000859" y="864889"/>
                  <a:pt x="912171" y="949728"/>
                  <a:pt x="805149" y="947356"/>
                </a:cubicBezTo>
                <a:lnTo>
                  <a:pt x="193929" y="947356"/>
                </a:lnTo>
                <a:cubicBezTo>
                  <a:pt x="86878" y="947356"/>
                  <a:pt x="95" y="860574"/>
                  <a:pt x="95" y="753523"/>
                </a:cubicBezTo>
                <a:cubicBezTo>
                  <a:pt x="143" y="646509"/>
                  <a:pt x="86916" y="559784"/>
                  <a:pt x="193929" y="559784"/>
                </a:cubicBezTo>
                <a:close/>
                <a:moveTo>
                  <a:pt x="1331214" y="559689"/>
                </a:moveTo>
                <a:cubicBezTo>
                  <a:pt x="1357977" y="559689"/>
                  <a:pt x="1383473" y="565113"/>
                  <a:pt x="1406663" y="574922"/>
                </a:cubicBezTo>
                <a:lnTo>
                  <a:pt x="1448982" y="603454"/>
                </a:lnTo>
                <a:lnTo>
                  <a:pt x="1448982" y="903636"/>
                </a:lnTo>
                <a:lnTo>
                  <a:pt x="1406719" y="932131"/>
                </a:lnTo>
                <a:cubicBezTo>
                  <a:pt x="1383541" y="941935"/>
                  <a:pt x="1358058" y="947356"/>
                  <a:pt x="1331309" y="947356"/>
                </a:cubicBezTo>
                <a:cubicBezTo>
                  <a:pt x="1331281" y="947356"/>
                  <a:pt x="1331243" y="947356"/>
                  <a:pt x="1331214" y="947356"/>
                </a:cubicBezTo>
                <a:cubicBezTo>
                  <a:pt x="1224163" y="947356"/>
                  <a:pt x="1137381" y="860574"/>
                  <a:pt x="1137381" y="753523"/>
                </a:cubicBezTo>
                <a:cubicBezTo>
                  <a:pt x="1137381" y="646471"/>
                  <a:pt x="1224163" y="559689"/>
                  <a:pt x="1331214" y="559689"/>
                </a:cubicBezTo>
                <a:close/>
                <a:moveTo>
                  <a:pt x="719995" y="95"/>
                </a:moveTo>
                <a:lnTo>
                  <a:pt x="1331309" y="95"/>
                </a:lnTo>
                <a:cubicBezTo>
                  <a:pt x="1358063" y="109"/>
                  <a:pt x="1383548" y="5543"/>
                  <a:pt x="1406727" y="15357"/>
                </a:cubicBezTo>
                <a:lnTo>
                  <a:pt x="1448982" y="43864"/>
                </a:lnTo>
                <a:lnTo>
                  <a:pt x="1448982" y="343951"/>
                </a:lnTo>
                <a:lnTo>
                  <a:pt x="1406719" y="372444"/>
                </a:lnTo>
                <a:cubicBezTo>
                  <a:pt x="1383541" y="382247"/>
                  <a:pt x="1358058" y="387668"/>
                  <a:pt x="1331309" y="387668"/>
                </a:cubicBezTo>
                <a:lnTo>
                  <a:pt x="719995" y="387668"/>
                </a:lnTo>
                <a:cubicBezTo>
                  <a:pt x="616306" y="385372"/>
                  <a:pt x="532800" y="301866"/>
                  <a:pt x="530504" y="198177"/>
                </a:cubicBezTo>
                <a:cubicBezTo>
                  <a:pt x="528133" y="91154"/>
                  <a:pt x="612972" y="2467"/>
                  <a:pt x="719995" y="95"/>
                </a:cubicBezTo>
                <a:close/>
                <a:moveTo>
                  <a:pt x="193929" y="0"/>
                </a:moveTo>
                <a:cubicBezTo>
                  <a:pt x="300980" y="57"/>
                  <a:pt x="387715" y="86877"/>
                  <a:pt x="387668" y="193929"/>
                </a:cubicBezTo>
                <a:cubicBezTo>
                  <a:pt x="387620" y="300942"/>
                  <a:pt x="300847" y="387668"/>
                  <a:pt x="193834" y="387668"/>
                </a:cubicBezTo>
                <a:cubicBezTo>
                  <a:pt x="193805" y="387668"/>
                  <a:pt x="193767" y="387668"/>
                  <a:pt x="193739" y="387668"/>
                </a:cubicBezTo>
                <a:cubicBezTo>
                  <a:pt x="86687" y="387620"/>
                  <a:pt x="-57" y="300790"/>
                  <a:pt x="0" y="193738"/>
                </a:cubicBezTo>
                <a:cubicBezTo>
                  <a:pt x="48" y="86687"/>
                  <a:pt x="86878" y="-48"/>
                  <a:pt x="193929" y="0"/>
                </a:cubicBezTo>
                <a:close/>
              </a:path>
            </a:pathLst>
          </a:custGeom>
          <a:solidFill>
            <a:srgbClr val="E6E7E8"/>
          </a:solidFill>
          <a:ln w="9525" cap="flat">
            <a:noFill/>
            <a:prstDash val="solid"/>
            <a:miter/>
          </a:ln>
        </p:spPr>
        <p:txBody>
          <a:bodyPr rtlCol="0" anchor="ctr"/>
          <a:lstStyle/>
          <a:p>
            <a:endParaRPr lang="en-GB"/>
          </a:p>
        </p:txBody>
      </p:sp>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5" y="393192"/>
            <a:ext cx="10980738" cy="548640"/>
          </a:xfrm>
        </p:spPr>
        <p:txBody>
          <a:bodyPr vert="horz"/>
          <a:lstStyle>
            <a:lvl1pPr>
              <a:defRPr>
                <a:solidFill>
                  <a:schemeClr val="accent1"/>
                </a:solidFill>
              </a:defRPr>
            </a:lvl1pPr>
          </a:lstStyle>
          <a:p>
            <a:r>
              <a:rPr lang="en-US"/>
              <a:t>H1 placeholder.</a:t>
            </a:r>
            <a:endParaRPr lang="en-GB"/>
          </a:p>
        </p:txBody>
      </p:sp>
      <p:sp>
        <p:nvSpPr>
          <p:cNvPr id="43" name="Text Placeholder 21">
            <a:extLst>
              <a:ext uri="{FF2B5EF4-FFF2-40B4-BE49-F238E27FC236}">
                <a16:creationId xmlns:a16="http://schemas.microsoft.com/office/drawing/2014/main" id="{ACB8E1AD-74D6-41E0-9593-C5AB78B4D685}"/>
              </a:ext>
            </a:extLst>
          </p:cNvPr>
          <p:cNvSpPr>
            <a:spLocks noGrp="1"/>
          </p:cNvSpPr>
          <p:nvPr>
            <p:ph type="body" sz="quarter" idx="37" hasCustomPrompt="1"/>
          </p:nvPr>
        </p:nvSpPr>
        <p:spPr>
          <a:xfrm>
            <a:off x="587373" y="1428331"/>
            <a:ext cx="9884664" cy="1048904"/>
          </a:xfrm>
        </p:spPr>
        <p:txBody>
          <a:bodyPr/>
          <a:lstStyle>
            <a:lvl1pPr marL="0" indent="0">
              <a:buFont typeface="Arial" panose="020B0604020202020204" pitchFamily="34" charset="0"/>
              <a:buChar char="​"/>
              <a:defRPr/>
            </a:lvl1pPr>
            <a:lvl2pPr>
              <a:buNone/>
              <a:defRPr/>
            </a:lvl2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pPr lvl="0"/>
            <a:endParaRPr lang="en-US"/>
          </a:p>
        </p:txBody>
      </p:sp>
      <p:sp>
        <p:nvSpPr>
          <p:cNvPr id="49" name="Text Placeholder 48">
            <a:extLst>
              <a:ext uri="{FF2B5EF4-FFF2-40B4-BE49-F238E27FC236}">
                <a16:creationId xmlns:a16="http://schemas.microsoft.com/office/drawing/2014/main" id="{38D42FC1-48A7-440B-A60B-CC8BC5DAD63C}"/>
              </a:ext>
            </a:extLst>
          </p:cNvPr>
          <p:cNvSpPr>
            <a:spLocks noGrp="1"/>
          </p:cNvSpPr>
          <p:nvPr>
            <p:ph type="body" sz="quarter" idx="41" hasCustomPrompt="1"/>
          </p:nvPr>
        </p:nvSpPr>
        <p:spPr>
          <a:xfrm>
            <a:off x="587375" y="2566567"/>
            <a:ext cx="3265200" cy="3230563"/>
          </a:xfrm>
          <a:solidFill>
            <a:schemeClr val="accent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51" name="Text Placeholder 50">
            <a:extLst>
              <a:ext uri="{FF2B5EF4-FFF2-40B4-BE49-F238E27FC236}">
                <a16:creationId xmlns:a16="http://schemas.microsoft.com/office/drawing/2014/main" id="{21EE711F-311B-4FFB-8D1F-E77F5C8C2335}"/>
              </a:ext>
            </a:extLst>
          </p:cNvPr>
          <p:cNvSpPr>
            <a:spLocks noGrp="1"/>
          </p:cNvSpPr>
          <p:nvPr>
            <p:ph type="body" sz="quarter" idx="42" hasCustomPrompt="1"/>
          </p:nvPr>
        </p:nvSpPr>
        <p:spPr>
          <a:xfrm>
            <a:off x="811937" y="2729080"/>
            <a:ext cx="581747" cy="320088"/>
          </a:xfrm>
        </p:spPr>
        <p:txBody>
          <a:bodyPr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a:t>
            </a:r>
          </a:p>
        </p:txBody>
      </p:sp>
      <p:sp>
        <p:nvSpPr>
          <p:cNvPr id="53" name="Text Placeholder 52">
            <a:extLst>
              <a:ext uri="{FF2B5EF4-FFF2-40B4-BE49-F238E27FC236}">
                <a16:creationId xmlns:a16="http://schemas.microsoft.com/office/drawing/2014/main" id="{DC210952-1873-45D2-89BE-8CE6018EC0E9}"/>
              </a:ext>
            </a:extLst>
          </p:cNvPr>
          <p:cNvSpPr>
            <a:spLocks noGrp="1"/>
          </p:cNvSpPr>
          <p:nvPr>
            <p:ph type="body" sz="quarter" idx="43" hasCustomPrompt="1"/>
          </p:nvPr>
        </p:nvSpPr>
        <p:spPr>
          <a:xfrm>
            <a:off x="811936" y="3267449"/>
            <a:ext cx="2835423" cy="472283"/>
          </a:xfrm>
        </p:spPr>
        <p:txBody>
          <a:bodyPr>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55" name="Text Placeholder 54">
            <a:extLst>
              <a:ext uri="{FF2B5EF4-FFF2-40B4-BE49-F238E27FC236}">
                <a16:creationId xmlns:a16="http://schemas.microsoft.com/office/drawing/2014/main" id="{035A4166-3D94-4BA9-A745-57CF683E2853}"/>
              </a:ext>
            </a:extLst>
          </p:cNvPr>
          <p:cNvSpPr>
            <a:spLocks noGrp="1"/>
          </p:cNvSpPr>
          <p:nvPr>
            <p:ph type="body" sz="quarter" idx="44" hasCustomPrompt="1"/>
          </p:nvPr>
        </p:nvSpPr>
        <p:spPr>
          <a:xfrm>
            <a:off x="811936" y="3758058"/>
            <a:ext cx="2835423" cy="1900379"/>
          </a:xfrm>
        </p:spPr>
        <p:txBody>
          <a:bodyPr>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pPr lvl="0"/>
            <a:endParaRPr lang="en-US"/>
          </a:p>
        </p:txBody>
      </p:sp>
      <p:sp>
        <p:nvSpPr>
          <p:cNvPr id="56" name="Text Placeholder 48">
            <a:extLst>
              <a:ext uri="{FF2B5EF4-FFF2-40B4-BE49-F238E27FC236}">
                <a16:creationId xmlns:a16="http://schemas.microsoft.com/office/drawing/2014/main" id="{E075DFB1-5169-4DF9-9DC4-0B200DC3A3AC}"/>
              </a:ext>
            </a:extLst>
          </p:cNvPr>
          <p:cNvSpPr>
            <a:spLocks noGrp="1"/>
          </p:cNvSpPr>
          <p:nvPr>
            <p:ph type="body" sz="quarter" idx="45" hasCustomPrompt="1"/>
          </p:nvPr>
        </p:nvSpPr>
        <p:spPr>
          <a:xfrm>
            <a:off x="8302913" y="2566567"/>
            <a:ext cx="3265200" cy="3230563"/>
          </a:xfrm>
          <a:solidFill>
            <a:schemeClr val="accent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57" name="Text Placeholder 50">
            <a:extLst>
              <a:ext uri="{FF2B5EF4-FFF2-40B4-BE49-F238E27FC236}">
                <a16:creationId xmlns:a16="http://schemas.microsoft.com/office/drawing/2014/main" id="{88ABAEB2-61E1-4803-A753-0F0FA8A3FD35}"/>
              </a:ext>
            </a:extLst>
          </p:cNvPr>
          <p:cNvSpPr>
            <a:spLocks noGrp="1"/>
          </p:cNvSpPr>
          <p:nvPr>
            <p:ph type="body" sz="quarter" idx="46" hasCustomPrompt="1"/>
          </p:nvPr>
        </p:nvSpPr>
        <p:spPr>
          <a:xfrm>
            <a:off x="8527475" y="2729080"/>
            <a:ext cx="581747" cy="320088"/>
          </a:xfrm>
        </p:spPr>
        <p:txBody>
          <a:bodyPr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a:t>
            </a:r>
          </a:p>
        </p:txBody>
      </p:sp>
      <p:sp>
        <p:nvSpPr>
          <p:cNvPr id="58" name="Text Placeholder 52">
            <a:extLst>
              <a:ext uri="{FF2B5EF4-FFF2-40B4-BE49-F238E27FC236}">
                <a16:creationId xmlns:a16="http://schemas.microsoft.com/office/drawing/2014/main" id="{1FDCD96D-EAC0-4F8D-A71D-C917CA43DF56}"/>
              </a:ext>
            </a:extLst>
          </p:cNvPr>
          <p:cNvSpPr>
            <a:spLocks noGrp="1"/>
          </p:cNvSpPr>
          <p:nvPr>
            <p:ph type="body" sz="quarter" idx="47" hasCustomPrompt="1"/>
          </p:nvPr>
        </p:nvSpPr>
        <p:spPr>
          <a:xfrm>
            <a:off x="8527474" y="3267449"/>
            <a:ext cx="2835423" cy="472283"/>
          </a:xfrm>
        </p:spPr>
        <p:txBody>
          <a:bodyPr>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59" name="Text Placeholder 54">
            <a:extLst>
              <a:ext uri="{FF2B5EF4-FFF2-40B4-BE49-F238E27FC236}">
                <a16:creationId xmlns:a16="http://schemas.microsoft.com/office/drawing/2014/main" id="{808AF575-F955-4BEC-8EEE-B1AEA8853DD7}"/>
              </a:ext>
            </a:extLst>
          </p:cNvPr>
          <p:cNvSpPr>
            <a:spLocks noGrp="1"/>
          </p:cNvSpPr>
          <p:nvPr>
            <p:ph type="body" sz="quarter" idx="48" hasCustomPrompt="1"/>
          </p:nvPr>
        </p:nvSpPr>
        <p:spPr>
          <a:xfrm>
            <a:off x="8527474" y="3758058"/>
            <a:ext cx="2835423" cy="1900379"/>
          </a:xfrm>
        </p:spPr>
        <p:txBody>
          <a:bodyPr>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pPr lvl="0"/>
            <a:endParaRPr lang="en-US"/>
          </a:p>
        </p:txBody>
      </p:sp>
      <p:sp>
        <p:nvSpPr>
          <p:cNvPr id="60" name="Text Placeholder 48">
            <a:extLst>
              <a:ext uri="{FF2B5EF4-FFF2-40B4-BE49-F238E27FC236}">
                <a16:creationId xmlns:a16="http://schemas.microsoft.com/office/drawing/2014/main" id="{780D5F73-D920-4B37-A30B-8B0C01CA9055}"/>
              </a:ext>
            </a:extLst>
          </p:cNvPr>
          <p:cNvSpPr>
            <a:spLocks noGrp="1"/>
          </p:cNvSpPr>
          <p:nvPr>
            <p:ph type="body" sz="quarter" idx="49" hasCustomPrompt="1"/>
          </p:nvPr>
        </p:nvSpPr>
        <p:spPr>
          <a:xfrm>
            <a:off x="4445144" y="2566567"/>
            <a:ext cx="3265200" cy="3230563"/>
          </a:xfrm>
          <a:solidFill>
            <a:schemeClr val="accent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61" name="Text Placeholder 50">
            <a:extLst>
              <a:ext uri="{FF2B5EF4-FFF2-40B4-BE49-F238E27FC236}">
                <a16:creationId xmlns:a16="http://schemas.microsoft.com/office/drawing/2014/main" id="{BADB5382-4E6D-4067-985B-51AC6D61FD08}"/>
              </a:ext>
            </a:extLst>
          </p:cNvPr>
          <p:cNvSpPr>
            <a:spLocks noGrp="1"/>
          </p:cNvSpPr>
          <p:nvPr>
            <p:ph type="body" sz="quarter" idx="50" hasCustomPrompt="1"/>
          </p:nvPr>
        </p:nvSpPr>
        <p:spPr>
          <a:xfrm>
            <a:off x="4660033" y="2729080"/>
            <a:ext cx="581747" cy="320088"/>
          </a:xfrm>
        </p:spPr>
        <p:txBody>
          <a:bodyPr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a:t>
            </a:r>
          </a:p>
        </p:txBody>
      </p:sp>
      <p:sp>
        <p:nvSpPr>
          <p:cNvPr id="62" name="Text Placeholder 52">
            <a:extLst>
              <a:ext uri="{FF2B5EF4-FFF2-40B4-BE49-F238E27FC236}">
                <a16:creationId xmlns:a16="http://schemas.microsoft.com/office/drawing/2014/main" id="{1BA023CA-4DEF-49AB-8B13-9C35C66A01B3}"/>
              </a:ext>
            </a:extLst>
          </p:cNvPr>
          <p:cNvSpPr>
            <a:spLocks noGrp="1"/>
          </p:cNvSpPr>
          <p:nvPr>
            <p:ph type="body" sz="quarter" idx="51" hasCustomPrompt="1"/>
          </p:nvPr>
        </p:nvSpPr>
        <p:spPr>
          <a:xfrm>
            <a:off x="4660033" y="3267449"/>
            <a:ext cx="2835423" cy="472283"/>
          </a:xfrm>
        </p:spPr>
        <p:txBody>
          <a:bodyPr>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63" name="Text Placeholder 54">
            <a:extLst>
              <a:ext uri="{FF2B5EF4-FFF2-40B4-BE49-F238E27FC236}">
                <a16:creationId xmlns:a16="http://schemas.microsoft.com/office/drawing/2014/main" id="{AB8B4903-A88A-4965-8183-092A3E9D8A8E}"/>
              </a:ext>
            </a:extLst>
          </p:cNvPr>
          <p:cNvSpPr>
            <a:spLocks noGrp="1"/>
          </p:cNvSpPr>
          <p:nvPr>
            <p:ph type="body" sz="quarter" idx="52" hasCustomPrompt="1"/>
          </p:nvPr>
        </p:nvSpPr>
        <p:spPr>
          <a:xfrm>
            <a:off x="4660033" y="3758058"/>
            <a:ext cx="2835423" cy="1900379"/>
          </a:xfrm>
        </p:spPr>
        <p:txBody>
          <a:bodyPr>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pPr lvl="0"/>
            <a:endParaRPr lang="en-US"/>
          </a:p>
        </p:txBody>
      </p:sp>
    </p:spTree>
    <p:custDataLst>
      <p:tags r:id="rId1"/>
    </p:custDataLst>
    <p:extLst>
      <p:ext uri="{BB962C8B-B14F-4D97-AF65-F5344CB8AC3E}">
        <p14:creationId xmlns:p14="http://schemas.microsoft.com/office/powerpoint/2010/main" val="235798581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Cover with Replaceable Imag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CF8B57D-2DC0-44FD-A100-240874391ABC}"/>
              </a:ext>
            </a:extLst>
          </p:cNvPr>
          <p:cNvSpPr>
            <a:spLocks/>
          </p:cNvSpPr>
          <p:nvPr userDrawn="1"/>
        </p:nvSpPr>
        <p:spPr>
          <a:xfrm>
            <a:off x="0" y="0"/>
            <a:ext cx="12192000" cy="6858000"/>
          </a:xfrm>
          <a:prstGeom prst="rect">
            <a:avLst/>
          </a:prstGeom>
          <a:solidFill>
            <a:schemeClr val="tx1">
              <a:lumMod val="5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0"/>
          </a:p>
        </p:txBody>
      </p:sp>
      <p:sp>
        <p:nvSpPr>
          <p:cNvPr id="3" name="Subtitle 2">
            <a:extLst>
              <a:ext uri="{FF2B5EF4-FFF2-40B4-BE49-F238E27FC236}">
                <a16:creationId xmlns:a16="http://schemas.microsoft.com/office/drawing/2014/main" id="{90374356-2DEE-40D7-A5C3-76BE971FC02F}"/>
              </a:ext>
            </a:extLst>
          </p:cNvPr>
          <p:cNvSpPr>
            <a:spLocks noGrp="1"/>
          </p:cNvSpPr>
          <p:nvPr>
            <p:ph type="subTitle" idx="1" hasCustomPrompt="1"/>
          </p:nvPr>
        </p:nvSpPr>
        <p:spPr>
          <a:xfrm>
            <a:off x="1524000" y="3999344"/>
            <a:ext cx="9144000" cy="1258455"/>
          </a:xfrm>
        </p:spPr>
        <p:txBody>
          <a:bodyPr>
            <a:normAutofit/>
          </a:bodyPr>
          <a:lstStyle>
            <a:lvl1pPr marL="0" indent="0" algn="ctr">
              <a:buNone/>
              <a:defRPr sz="1400" b="0">
                <a:solidFill>
                  <a:schemeClr val="bg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endParaRPr lang="en-GB"/>
          </a:p>
        </p:txBody>
      </p:sp>
      <p:pic>
        <p:nvPicPr>
          <p:cNvPr id="6" name="Graphic 5">
            <a:extLst>
              <a:ext uri="{FF2B5EF4-FFF2-40B4-BE49-F238E27FC236}">
                <a16:creationId xmlns:a16="http://schemas.microsoft.com/office/drawing/2014/main" id="{D6505CBB-906A-468A-9AD3-706C13676343}"/>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848850" y="557212"/>
            <a:ext cx="1905000" cy="198723"/>
          </a:xfrm>
          <a:prstGeom prst="rect">
            <a:avLst/>
          </a:prstGeom>
        </p:spPr>
      </p:pic>
      <p:sp>
        <p:nvSpPr>
          <p:cNvPr id="9" name="Picture Placeholder 3">
            <a:extLst>
              <a:ext uri="{FF2B5EF4-FFF2-40B4-BE49-F238E27FC236}">
                <a16:creationId xmlns:a16="http://schemas.microsoft.com/office/drawing/2014/main" id="{A188721B-3567-47E5-A4A0-85FD57D1DF91}"/>
              </a:ext>
            </a:extLst>
          </p:cNvPr>
          <p:cNvSpPr>
            <a:spLocks noGrp="1"/>
          </p:cNvSpPr>
          <p:nvPr>
            <p:ph type="pic" sz="quarter" idx="12"/>
          </p:nvPr>
        </p:nvSpPr>
        <p:spPr>
          <a:xfrm>
            <a:off x="9690100" y="5615736"/>
            <a:ext cx="2063750" cy="722313"/>
          </a:xfrm>
        </p:spPr>
        <p:txBody>
          <a:bodyPr/>
          <a:lstStyle>
            <a:lvl1pPr marL="0" indent="0" algn="l">
              <a:buFontTx/>
              <a:buNone/>
              <a:defRPr/>
            </a:lvl1pPr>
          </a:lstStyle>
          <a:p>
            <a:endParaRPr lang="en-IN"/>
          </a:p>
        </p:txBody>
      </p:sp>
      <p:sp>
        <p:nvSpPr>
          <p:cNvPr id="8" name="Text Placeholder 7">
            <a:extLst>
              <a:ext uri="{FF2B5EF4-FFF2-40B4-BE49-F238E27FC236}">
                <a16:creationId xmlns:a16="http://schemas.microsoft.com/office/drawing/2014/main" id="{5583C9ED-C668-4838-A3CC-5794946B877A}"/>
              </a:ext>
            </a:extLst>
          </p:cNvPr>
          <p:cNvSpPr>
            <a:spLocks noGrp="1"/>
          </p:cNvSpPr>
          <p:nvPr>
            <p:ph type="body" sz="quarter" idx="11" hasCustomPrompt="1"/>
          </p:nvPr>
        </p:nvSpPr>
        <p:spPr>
          <a:xfrm>
            <a:off x="1524000" y="2834640"/>
            <a:ext cx="9144000" cy="957262"/>
          </a:xfrm>
        </p:spPr>
        <p:txBody>
          <a:bodyPr/>
          <a:lstStyle>
            <a:lvl1pPr marL="0" indent="0" algn="ctr" defTabSz="914400" rtl="0" eaLnBrk="1" latinLnBrk="0" hangingPunct="1">
              <a:lnSpc>
                <a:spcPct val="110000"/>
              </a:lnSpc>
              <a:buFontTx/>
              <a:buNone/>
              <a:defRPr lang="en-US" sz="5400" b="1" kern="1200" dirty="0" smtClean="0">
                <a:solidFill>
                  <a:schemeClr val="bg1"/>
                </a:solidFill>
                <a:latin typeface="Segoe UI" panose="020B0502040204020203" pitchFamily="34" charset="0"/>
                <a:ea typeface="+mn-ea"/>
                <a:cs typeface="Segoe UI" panose="020B0502040204020203" pitchFamily="34" charset="0"/>
              </a:defRPr>
            </a:lvl1pPr>
            <a:lvl2pPr marL="0" algn="ctr" defTabSz="914400" rtl="0" eaLnBrk="1" latinLnBrk="0" hangingPunct="1">
              <a:defRPr lang="en-US" sz="5400" b="1" kern="1200" dirty="0" smtClean="0">
                <a:solidFill>
                  <a:schemeClr val="bg1"/>
                </a:solidFill>
                <a:latin typeface="Segoe UI" panose="020B0502040204020203" pitchFamily="34" charset="0"/>
                <a:ea typeface="+mn-ea"/>
                <a:cs typeface="Segoe UI" panose="020B0502040204020203" pitchFamily="34" charset="0"/>
              </a:defRPr>
            </a:lvl2pPr>
            <a:lvl3pPr marL="0" algn="ctr" defTabSz="914400" rtl="0" eaLnBrk="1" latinLnBrk="0" hangingPunct="1">
              <a:defRPr lang="en-US" sz="5400" b="1" kern="1200" dirty="0" smtClean="0">
                <a:solidFill>
                  <a:schemeClr val="bg1"/>
                </a:solidFill>
                <a:latin typeface="Segoe UI" panose="020B0502040204020203" pitchFamily="34" charset="0"/>
                <a:ea typeface="+mn-ea"/>
                <a:cs typeface="Segoe UI" panose="020B0502040204020203" pitchFamily="34" charset="0"/>
              </a:defRPr>
            </a:lvl3pPr>
            <a:lvl4pPr marL="0" algn="ctr" defTabSz="914400" rtl="0" eaLnBrk="1" latinLnBrk="0" hangingPunct="1">
              <a:defRPr lang="en-US" sz="5400" b="1" kern="1200" dirty="0" smtClean="0">
                <a:solidFill>
                  <a:schemeClr val="bg1"/>
                </a:solidFill>
                <a:latin typeface="Segoe UI" panose="020B0502040204020203" pitchFamily="34" charset="0"/>
                <a:ea typeface="+mn-ea"/>
                <a:cs typeface="Segoe UI" panose="020B0502040204020203" pitchFamily="34" charset="0"/>
              </a:defRPr>
            </a:lvl4pPr>
            <a:lvl5pPr marL="0" indent="0" algn="ctr" defTabSz="914400" rtl="0" eaLnBrk="1" latinLnBrk="0" hangingPunct="1">
              <a:buNone/>
              <a:defRPr lang="en-IN" sz="5400" b="1" kern="1200" dirty="0">
                <a:solidFill>
                  <a:schemeClr val="bg1"/>
                </a:solidFill>
                <a:latin typeface="Segoe UI" panose="020B0502040204020203" pitchFamily="34" charset="0"/>
                <a:ea typeface="+mn-ea"/>
                <a:cs typeface="Segoe UI" panose="020B0502040204020203" pitchFamily="34" charset="0"/>
              </a:defRPr>
            </a:lvl5pPr>
          </a:lstStyle>
          <a:p>
            <a:pPr lvl="0"/>
            <a:r>
              <a:rPr lang="en-US"/>
              <a:t>Elevate your impact.</a:t>
            </a:r>
          </a:p>
        </p:txBody>
      </p:sp>
    </p:spTree>
    <p:custDataLst>
      <p:tags r:id="rId1"/>
    </p:custDataLst>
    <p:extLst>
      <p:ext uri="{BB962C8B-B14F-4D97-AF65-F5344CB8AC3E}">
        <p14:creationId xmlns:p14="http://schemas.microsoft.com/office/powerpoint/2010/main" val="11470271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ard White With Icon Placehol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043C90-533F-4BE6-8E5C-89C642043ACC}"/>
              </a:ext>
            </a:extLst>
          </p:cNvPr>
          <p:cNvGraphicFramePr>
            <a:graphicFrameLocks noChangeAspect="1"/>
          </p:cNvGraphicFramePr>
          <p:nvPr userDrawn="1">
            <p:custDataLst>
              <p:tags r:id="rId2"/>
            </p:custDataLst>
            <p:extLst>
              <p:ext uri="{D42A27DB-BD31-4B8C-83A1-F6EECF244321}">
                <p14:modId xmlns:p14="http://schemas.microsoft.com/office/powerpoint/2010/main" val="1270679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2D043C90-533F-4BE6-8E5C-89C642043A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Freeform: Shape 29">
            <a:extLst>
              <a:ext uri="{FF2B5EF4-FFF2-40B4-BE49-F238E27FC236}">
                <a16:creationId xmlns:a16="http://schemas.microsoft.com/office/drawing/2014/main" id="{B8882182-E9AF-4F43-8965-F8083F60F3CE}"/>
              </a:ext>
            </a:extLst>
          </p:cNvPr>
          <p:cNvSpPr>
            <a:spLocks noChangeAspect="1"/>
          </p:cNvSpPr>
          <p:nvPr userDrawn="1"/>
        </p:nvSpPr>
        <p:spPr>
          <a:xfrm>
            <a:off x="10475976" y="1431636"/>
            <a:ext cx="1716024" cy="1784788"/>
          </a:xfrm>
          <a:custGeom>
            <a:avLst/>
            <a:gdLst>
              <a:gd name="connsiteX0" fmla="*/ 719995 w 1448982"/>
              <a:gd name="connsiteY0" fmla="*/ 1119378 h 1507045"/>
              <a:gd name="connsiteX1" fmla="*/ 1331309 w 1448982"/>
              <a:gd name="connsiteY1" fmla="*/ 1119378 h 1507045"/>
              <a:gd name="connsiteX2" fmla="*/ 1404338 w 1448982"/>
              <a:gd name="connsiteY2" fmla="*/ 1135373 h 1507045"/>
              <a:gd name="connsiteX3" fmla="*/ 1448982 w 1448982"/>
              <a:gd name="connsiteY3" fmla="*/ 1165809 h 1507045"/>
              <a:gd name="connsiteX4" fmla="*/ 1448982 w 1448982"/>
              <a:gd name="connsiteY4" fmla="*/ 1459947 h 1507045"/>
              <a:gd name="connsiteX5" fmla="*/ 1406401 w 1448982"/>
              <a:gd name="connsiteY5" fmla="*/ 1490049 h 1507045"/>
              <a:gd name="connsiteX6" fmla="*/ 1331309 w 1448982"/>
              <a:gd name="connsiteY6" fmla="*/ 1506950 h 1507045"/>
              <a:gd name="connsiteX7" fmla="*/ 719995 w 1448982"/>
              <a:gd name="connsiteY7" fmla="*/ 1506950 h 1507045"/>
              <a:gd name="connsiteX8" fmla="*/ 526256 w 1448982"/>
              <a:gd name="connsiteY8" fmla="*/ 1313116 h 1507045"/>
              <a:gd name="connsiteX9" fmla="*/ 719995 w 1448982"/>
              <a:gd name="connsiteY9" fmla="*/ 1119378 h 1507045"/>
              <a:gd name="connsiteX10" fmla="*/ 193834 w 1448982"/>
              <a:gd name="connsiteY10" fmla="*/ 1119378 h 1507045"/>
              <a:gd name="connsiteX11" fmla="*/ 194024 w 1448982"/>
              <a:gd name="connsiteY11" fmla="*/ 1119378 h 1507045"/>
              <a:gd name="connsiteX12" fmla="*/ 387763 w 1448982"/>
              <a:gd name="connsiteY12" fmla="*/ 1313307 h 1507045"/>
              <a:gd name="connsiteX13" fmla="*/ 193834 w 1448982"/>
              <a:gd name="connsiteY13" fmla="*/ 1507045 h 1507045"/>
              <a:gd name="connsiteX14" fmla="*/ 95 w 1448982"/>
              <a:gd name="connsiteY14" fmla="*/ 1313116 h 1507045"/>
              <a:gd name="connsiteX15" fmla="*/ 193834 w 1448982"/>
              <a:gd name="connsiteY15" fmla="*/ 1119378 h 1507045"/>
              <a:gd name="connsiteX16" fmla="*/ 193929 w 1448982"/>
              <a:gd name="connsiteY16" fmla="*/ 559784 h 1507045"/>
              <a:gd name="connsiteX17" fmla="*/ 805149 w 1448982"/>
              <a:gd name="connsiteY17" fmla="*/ 559784 h 1507045"/>
              <a:gd name="connsiteX18" fmla="*/ 813740 w 1448982"/>
              <a:gd name="connsiteY18" fmla="*/ 559784 h 1507045"/>
              <a:gd name="connsiteX19" fmla="*/ 1003230 w 1448982"/>
              <a:gd name="connsiteY19" fmla="*/ 757866 h 1507045"/>
              <a:gd name="connsiteX20" fmla="*/ 805149 w 1448982"/>
              <a:gd name="connsiteY20" fmla="*/ 947356 h 1507045"/>
              <a:gd name="connsiteX21" fmla="*/ 193929 w 1448982"/>
              <a:gd name="connsiteY21" fmla="*/ 947356 h 1507045"/>
              <a:gd name="connsiteX22" fmla="*/ 95 w 1448982"/>
              <a:gd name="connsiteY22" fmla="*/ 753523 h 1507045"/>
              <a:gd name="connsiteX23" fmla="*/ 193929 w 1448982"/>
              <a:gd name="connsiteY23" fmla="*/ 559784 h 1507045"/>
              <a:gd name="connsiteX24" fmla="*/ 1331214 w 1448982"/>
              <a:gd name="connsiteY24" fmla="*/ 559689 h 1507045"/>
              <a:gd name="connsiteX25" fmla="*/ 1406663 w 1448982"/>
              <a:gd name="connsiteY25" fmla="*/ 574922 h 1507045"/>
              <a:gd name="connsiteX26" fmla="*/ 1448982 w 1448982"/>
              <a:gd name="connsiteY26" fmla="*/ 603454 h 1507045"/>
              <a:gd name="connsiteX27" fmla="*/ 1448982 w 1448982"/>
              <a:gd name="connsiteY27" fmla="*/ 903636 h 1507045"/>
              <a:gd name="connsiteX28" fmla="*/ 1406719 w 1448982"/>
              <a:gd name="connsiteY28" fmla="*/ 932131 h 1507045"/>
              <a:gd name="connsiteX29" fmla="*/ 1331309 w 1448982"/>
              <a:gd name="connsiteY29" fmla="*/ 947356 h 1507045"/>
              <a:gd name="connsiteX30" fmla="*/ 1331214 w 1448982"/>
              <a:gd name="connsiteY30" fmla="*/ 947356 h 1507045"/>
              <a:gd name="connsiteX31" fmla="*/ 1137381 w 1448982"/>
              <a:gd name="connsiteY31" fmla="*/ 753523 h 1507045"/>
              <a:gd name="connsiteX32" fmla="*/ 1331214 w 1448982"/>
              <a:gd name="connsiteY32" fmla="*/ 559689 h 1507045"/>
              <a:gd name="connsiteX33" fmla="*/ 719995 w 1448982"/>
              <a:gd name="connsiteY33" fmla="*/ 95 h 1507045"/>
              <a:gd name="connsiteX34" fmla="*/ 1331309 w 1448982"/>
              <a:gd name="connsiteY34" fmla="*/ 95 h 1507045"/>
              <a:gd name="connsiteX35" fmla="*/ 1406727 w 1448982"/>
              <a:gd name="connsiteY35" fmla="*/ 15357 h 1507045"/>
              <a:gd name="connsiteX36" fmla="*/ 1448982 w 1448982"/>
              <a:gd name="connsiteY36" fmla="*/ 43864 h 1507045"/>
              <a:gd name="connsiteX37" fmla="*/ 1448982 w 1448982"/>
              <a:gd name="connsiteY37" fmla="*/ 343951 h 1507045"/>
              <a:gd name="connsiteX38" fmla="*/ 1406719 w 1448982"/>
              <a:gd name="connsiteY38" fmla="*/ 372444 h 1507045"/>
              <a:gd name="connsiteX39" fmla="*/ 1331309 w 1448982"/>
              <a:gd name="connsiteY39" fmla="*/ 387668 h 1507045"/>
              <a:gd name="connsiteX40" fmla="*/ 719995 w 1448982"/>
              <a:gd name="connsiteY40" fmla="*/ 387668 h 1507045"/>
              <a:gd name="connsiteX41" fmla="*/ 530504 w 1448982"/>
              <a:gd name="connsiteY41" fmla="*/ 198177 h 1507045"/>
              <a:gd name="connsiteX42" fmla="*/ 719995 w 1448982"/>
              <a:gd name="connsiteY42" fmla="*/ 95 h 1507045"/>
              <a:gd name="connsiteX43" fmla="*/ 193929 w 1448982"/>
              <a:gd name="connsiteY43" fmla="*/ 0 h 1507045"/>
              <a:gd name="connsiteX44" fmla="*/ 387668 w 1448982"/>
              <a:gd name="connsiteY44" fmla="*/ 193929 h 1507045"/>
              <a:gd name="connsiteX45" fmla="*/ 193834 w 1448982"/>
              <a:gd name="connsiteY45" fmla="*/ 387668 h 1507045"/>
              <a:gd name="connsiteX46" fmla="*/ 193739 w 1448982"/>
              <a:gd name="connsiteY46" fmla="*/ 387668 h 1507045"/>
              <a:gd name="connsiteX47" fmla="*/ 0 w 1448982"/>
              <a:gd name="connsiteY47" fmla="*/ 193738 h 1507045"/>
              <a:gd name="connsiteX48" fmla="*/ 193929 w 1448982"/>
              <a:gd name="connsiteY48" fmla="*/ 0 h 150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48982" h="1507045">
                <a:moveTo>
                  <a:pt x="719995" y="1119378"/>
                </a:moveTo>
                <a:lnTo>
                  <a:pt x="1331309" y="1119378"/>
                </a:lnTo>
                <a:cubicBezTo>
                  <a:pt x="1357231" y="1119952"/>
                  <a:pt x="1381892" y="1125601"/>
                  <a:pt x="1404338" y="1135373"/>
                </a:cubicBezTo>
                <a:lnTo>
                  <a:pt x="1448982" y="1165809"/>
                </a:lnTo>
                <a:lnTo>
                  <a:pt x="1448982" y="1459947"/>
                </a:lnTo>
                <a:lnTo>
                  <a:pt x="1406401" y="1490049"/>
                </a:lnTo>
                <a:cubicBezTo>
                  <a:pt x="1383434" y="1500370"/>
                  <a:pt x="1358065" y="1506357"/>
                  <a:pt x="1331309" y="1506950"/>
                </a:cubicBezTo>
                <a:lnTo>
                  <a:pt x="719995" y="1506950"/>
                </a:lnTo>
                <a:cubicBezTo>
                  <a:pt x="612982" y="1506893"/>
                  <a:pt x="526256" y="1420130"/>
                  <a:pt x="526256" y="1313116"/>
                </a:cubicBezTo>
                <a:cubicBezTo>
                  <a:pt x="526256" y="1206112"/>
                  <a:pt x="613000" y="1119378"/>
                  <a:pt x="719995" y="1119378"/>
                </a:cubicBezTo>
                <a:close/>
                <a:moveTo>
                  <a:pt x="193834" y="1119378"/>
                </a:moveTo>
                <a:cubicBezTo>
                  <a:pt x="193900" y="1119378"/>
                  <a:pt x="193958" y="1119378"/>
                  <a:pt x="194024" y="1119378"/>
                </a:cubicBezTo>
                <a:cubicBezTo>
                  <a:pt x="301076" y="1119425"/>
                  <a:pt x="387820" y="1206255"/>
                  <a:pt x="387763" y="1313307"/>
                </a:cubicBezTo>
                <a:cubicBezTo>
                  <a:pt x="387715" y="1420358"/>
                  <a:pt x="300885" y="1507093"/>
                  <a:pt x="193834" y="1507045"/>
                </a:cubicBezTo>
                <a:cubicBezTo>
                  <a:pt x="86782" y="1506988"/>
                  <a:pt x="48" y="1420168"/>
                  <a:pt x="95" y="1313116"/>
                </a:cubicBezTo>
                <a:cubicBezTo>
                  <a:pt x="143" y="1206141"/>
                  <a:pt x="86859" y="1119425"/>
                  <a:pt x="193834" y="1119378"/>
                </a:cubicBezTo>
                <a:close/>
                <a:moveTo>
                  <a:pt x="193929" y="559784"/>
                </a:moveTo>
                <a:lnTo>
                  <a:pt x="805149" y="559784"/>
                </a:lnTo>
                <a:cubicBezTo>
                  <a:pt x="808015" y="559717"/>
                  <a:pt x="810882" y="559717"/>
                  <a:pt x="813740" y="559784"/>
                </a:cubicBezTo>
                <a:cubicBezTo>
                  <a:pt x="920763" y="562156"/>
                  <a:pt x="1005602" y="650843"/>
                  <a:pt x="1003230" y="757866"/>
                </a:cubicBezTo>
                <a:cubicBezTo>
                  <a:pt x="1000859" y="864889"/>
                  <a:pt x="912171" y="949728"/>
                  <a:pt x="805149" y="947356"/>
                </a:cubicBezTo>
                <a:lnTo>
                  <a:pt x="193929" y="947356"/>
                </a:lnTo>
                <a:cubicBezTo>
                  <a:pt x="86878" y="947356"/>
                  <a:pt x="95" y="860574"/>
                  <a:pt x="95" y="753523"/>
                </a:cubicBezTo>
                <a:cubicBezTo>
                  <a:pt x="143" y="646509"/>
                  <a:pt x="86916" y="559784"/>
                  <a:pt x="193929" y="559784"/>
                </a:cubicBezTo>
                <a:close/>
                <a:moveTo>
                  <a:pt x="1331214" y="559689"/>
                </a:moveTo>
                <a:cubicBezTo>
                  <a:pt x="1357977" y="559689"/>
                  <a:pt x="1383473" y="565113"/>
                  <a:pt x="1406663" y="574922"/>
                </a:cubicBezTo>
                <a:lnTo>
                  <a:pt x="1448982" y="603454"/>
                </a:lnTo>
                <a:lnTo>
                  <a:pt x="1448982" y="903636"/>
                </a:lnTo>
                <a:lnTo>
                  <a:pt x="1406719" y="932131"/>
                </a:lnTo>
                <a:cubicBezTo>
                  <a:pt x="1383541" y="941935"/>
                  <a:pt x="1358058" y="947356"/>
                  <a:pt x="1331309" y="947356"/>
                </a:cubicBezTo>
                <a:cubicBezTo>
                  <a:pt x="1331281" y="947356"/>
                  <a:pt x="1331243" y="947356"/>
                  <a:pt x="1331214" y="947356"/>
                </a:cubicBezTo>
                <a:cubicBezTo>
                  <a:pt x="1224163" y="947356"/>
                  <a:pt x="1137381" y="860574"/>
                  <a:pt x="1137381" y="753523"/>
                </a:cubicBezTo>
                <a:cubicBezTo>
                  <a:pt x="1137381" y="646471"/>
                  <a:pt x="1224163" y="559689"/>
                  <a:pt x="1331214" y="559689"/>
                </a:cubicBezTo>
                <a:close/>
                <a:moveTo>
                  <a:pt x="719995" y="95"/>
                </a:moveTo>
                <a:lnTo>
                  <a:pt x="1331309" y="95"/>
                </a:lnTo>
                <a:cubicBezTo>
                  <a:pt x="1358063" y="109"/>
                  <a:pt x="1383548" y="5543"/>
                  <a:pt x="1406727" y="15357"/>
                </a:cubicBezTo>
                <a:lnTo>
                  <a:pt x="1448982" y="43864"/>
                </a:lnTo>
                <a:lnTo>
                  <a:pt x="1448982" y="343951"/>
                </a:lnTo>
                <a:lnTo>
                  <a:pt x="1406719" y="372444"/>
                </a:lnTo>
                <a:cubicBezTo>
                  <a:pt x="1383541" y="382247"/>
                  <a:pt x="1358058" y="387668"/>
                  <a:pt x="1331309" y="387668"/>
                </a:cubicBezTo>
                <a:lnTo>
                  <a:pt x="719995" y="387668"/>
                </a:lnTo>
                <a:cubicBezTo>
                  <a:pt x="616306" y="385372"/>
                  <a:pt x="532800" y="301866"/>
                  <a:pt x="530504" y="198177"/>
                </a:cubicBezTo>
                <a:cubicBezTo>
                  <a:pt x="528133" y="91154"/>
                  <a:pt x="612972" y="2467"/>
                  <a:pt x="719995" y="95"/>
                </a:cubicBezTo>
                <a:close/>
                <a:moveTo>
                  <a:pt x="193929" y="0"/>
                </a:moveTo>
                <a:cubicBezTo>
                  <a:pt x="300980" y="57"/>
                  <a:pt x="387715" y="86877"/>
                  <a:pt x="387668" y="193929"/>
                </a:cubicBezTo>
                <a:cubicBezTo>
                  <a:pt x="387620" y="300942"/>
                  <a:pt x="300847" y="387668"/>
                  <a:pt x="193834" y="387668"/>
                </a:cubicBezTo>
                <a:cubicBezTo>
                  <a:pt x="193805" y="387668"/>
                  <a:pt x="193767" y="387668"/>
                  <a:pt x="193739" y="387668"/>
                </a:cubicBezTo>
                <a:cubicBezTo>
                  <a:pt x="86687" y="387620"/>
                  <a:pt x="-57" y="300790"/>
                  <a:pt x="0" y="193738"/>
                </a:cubicBezTo>
                <a:cubicBezTo>
                  <a:pt x="48" y="86687"/>
                  <a:pt x="86878" y="-48"/>
                  <a:pt x="193929" y="0"/>
                </a:cubicBezTo>
                <a:close/>
              </a:path>
            </a:pathLst>
          </a:custGeom>
          <a:solidFill>
            <a:srgbClr val="E6E7E8"/>
          </a:solidFill>
          <a:ln w="9525" cap="flat">
            <a:noFill/>
            <a:prstDash val="solid"/>
            <a:miter/>
          </a:ln>
        </p:spPr>
        <p:txBody>
          <a:bodyPr rtlCol="0" anchor="ctr"/>
          <a:lstStyle/>
          <a:p>
            <a:endParaRPr lang="en-GB"/>
          </a:p>
        </p:txBody>
      </p:sp>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5" y="393192"/>
            <a:ext cx="10980738" cy="548640"/>
          </a:xfrm>
        </p:spPr>
        <p:txBody>
          <a:bodyPr vert="horz"/>
          <a:lstStyle>
            <a:lvl1pPr>
              <a:defRPr>
                <a:solidFill>
                  <a:schemeClr val="accent1"/>
                </a:solidFill>
              </a:defRPr>
            </a:lvl1pPr>
          </a:lstStyle>
          <a:p>
            <a:r>
              <a:rPr lang="en-US"/>
              <a:t>H1 placeholder.</a:t>
            </a:r>
            <a:endParaRPr lang="en-GB"/>
          </a:p>
        </p:txBody>
      </p:sp>
      <p:sp>
        <p:nvSpPr>
          <p:cNvPr id="43" name="Text Placeholder 21">
            <a:extLst>
              <a:ext uri="{FF2B5EF4-FFF2-40B4-BE49-F238E27FC236}">
                <a16:creationId xmlns:a16="http://schemas.microsoft.com/office/drawing/2014/main" id="{ACB8E1AD-74D6-41E0-9593-C5AB78B4D685}"/>
              </a:ext>
            </a:extLst>
          </p:cNvPr>
          <p:cNvSpPr>
            <a:spLocks noGrp="1"/>
          </p:cNvSpPr>
          <p:nvPr>
            <p:ph type="body" sz="quarter" idx="37" hasCustomPrompt="1"/>
          </p:nvPr>
        </p:nvSpPr>
        <p:spPr>
          <a:xfrm>
            <a:off x="587373" y="1428336"/>
            <a:ext cx="9884664" cy="1048904"/>
          </a:xfrm>
        </p:spPr>
        <p:txBody>
          <a:bodyPr/>
          <a:lstStyle>
            <a:lvl1pPr marL="0" indent="0">
              <a:buFont typeface="Arial" panose="020B0604020202020204" pitchFamily="34" charset="0"/>
              <a:buChar char="​"/>
              <a:defRPr/>
            </a:lvl1pPr>
            <a:lvl2pPr>
              <a:buNone/>
              <a:defRPr/>
            </a:lvl2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pPr lvl="0"/>
            <a:endParaRPr lang="en-US"/>
          </a:p>
        </p:txBody>
      </p:sp>
      <p:sp>
        <p:nvSpPr>
          <p:cNvPr id="49" name="Text Placeholder 48">
            <a:extLst>
              <a:ext uri="{FF2B5EF4-FFF2-40B4-BE49-F238E27FC236}">
                <a16:creationId xmlns:a16="http://schemas.microsoft.com/office/drawing/2014/main" id="{38D42FC1-48A7-440B-A60B-CC8BC5DAD63C}"/>
              </a:ext>
            </a:extLst>
          </p:cNvPr>
          <p:cNvSpPr>
            <a:spLocks noGrp="1"/>
          </p:cNvSpPr>
          <p:nvPr>
            <p:ph type="body" sz="quarter" idx="41" hasCustomPrompt="1"/>
          </p:nvPr>
        </p:nvSpPr>
        <p:spPr>
          <a:xfrm>
            <a:off x="587375" y="2566572"/>
            <a:ext cx="3265200" cy="3230563"/>
          </a:xfrm>
          <a:solidFill>
            <a:schemeClr val="accent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53" name="Text Placeholder 52">
            <a:extLst>
              <a:ext uri="{FF2B5EF4-FFF2-40B4-BE49-F238E27FC236}">
                <a16:creationId xmlns:a16="http://schemas.microsoft.com/office/drawing/2014/main" id="{DC210952-1873-45D2-89BE-8CE6018EC0E9}"/>
              </a:ext>
            </a:extLst>
          </p:cNvPr>
          <p:cNvSpPr>
            <a:spLocks noGrp="1"/>
          </p:cNvSpPr>
          <p:nvPr>
            <p:ph type="body" sz="quarter" idx="43" hasCustomPrompt="1"/>
          </p:nvPr>
        </p:nvSpPr>
        <p:spPr>
          <a:xfrm>
            <a:off x="811936" y="3267454"/>
            <a:ext cx="2835423" cy="472283"/>
          </a:xfrm>
        </p:spPr>
        <p:txBody>
          <a:bodyPr>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55" name="Text Placeholder 54">
            <a:extLst>
              <a:ext uri="{FF2B5EF4-FFF2-40B4-BE49-F238E27FC236}">
                <a16:creationId xmlns:a16="http://schemas.microsoft.com/office/drawing/2014/main" id="{035A4166-3D94-4BA9-A745-57CF683E2853}"/>
              </a:ext>
            </a:extLst>
          </p:cNvPr>
          <p:cNvSpPr>
            <a:spLocks noGrp="1"/>
          </p:cNvSpPr>
          <p:nvPr>
            <p:ph type="body" sz="quarter" idx="44" hasCustomPrompt="1"/>
          </p:nvPr>
        </p:nvSpPr>
        <p:spPr>
          <a:xfrm>
            <a:off x="811936" y="3758063"/>
            <a:ext cx="2835423" cy="1900379"/>
          </a:xfrm>
        </p:spPr>
        <p:txBody>
          <a:bodyPr>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pPr lvl="0"/>
            <a:endParaRPr lang="en-US"/>
          </a:p>
        </p:txBody>
      </p:sp>
      <p:sp>
        <p:nvSpPr>
          <p:cNvPr id="56" name="Text Placeholder 48">
            <a:extLst>
              <a:ext uri="{FF2B5EF4-FFF2-40B4-BE49-F238E27FC236}">
                <a16:creationId xmlns:a16="http://schemas.microsoft.com/office/drawing/2014/main" id="{E075DFB1-5169-4DF9-9DC4-0B200DC3A3AC}"/>
              </a:ext>
            </a:extLst>
          </p:cNvPr>
          <p:cNvSpPr>
            <a:spLocks noGrp="1"/>
          </p:cNvSpPr>
          <p:nvPr>
            <p:ph type="body" sz="quarter" idx="45" hasCustomPrompt="1"/>
          </p:nvPr>
        </p:nvSpPr>
        <p:spPr>
          <a:xfrm>
            <a:off x="8302913" y="2566572"/>
            <a:ext cx="3265200" cy="3230563"/>
          </a:xfrm>
          <a:solidFill>
            <a:schemeClr val="accent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58" name="Text Placeholder 52">
            <a:extLst>
              <a:ext uri="{FF2B5EF4-FFF2-40B4-BE49-F238E27FC236}">
                <a16:creationId xmlns:a16="http://schemas.microsoft.com/office/drawing/2014/main" id="{1FDCD96D-EAC0-4F8D-A71D-C917CA43DF56}"/>
              </a:ext>
            </a:extLst>
          </p:cNvPr>
          <p:cNvSpPr>
            <a:spLocks noGrp="1"/>
          </p:cNvSpPr>
          <p:nvPr>
            <p:ph type="body" sz="quarter" idx="47" hasCustomPrompt="1"/>
          </p:nvPr>
        </p:nvSpPr>
        <p:spPr>
          <a:xfrm>
            <a:off x="8527474" y="3267454"/>
            <a:ext cx="2835423" cy="472283"/>
          </a:xfrm>
        </p:spPr>
        <p:txBody>
          <a:bodyPr>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59" name="Text Placeholder 54">
            <a:extLst>
              <a:ext uri="{FF2B5EF4-FFF2-40B4-BE49-F238E27FC236}">
                <a16:creationId xmlns:a16="http://schemas.microsoft.com/office/drawing/2014/main" id="{808AF575-F955-4BEC-8EEE-B1AEA8853DD7}"/>
              </a:ext>
            </a:extLst>
          </p:cNvPr>
          <p:cNvSpPr>
            <a:spLocks noGrp="1"/>
          </p:cNvSpPr>
          <p:nvPr>
            <p:ph type="body" sz="quarter" idx="48" hasCustomPrompt="1"/>
          </p:nvPr>
        </p:nvSpPr>
        <p:spPr>
          <a:xfrm>
            <a:off x="8527474" y="3758063"/>
            <a:ext cx="2835423" cy="1900379"/>
          </a:xfrm>
        </p:spPr>
        <p:txBody>
          <a:bodyPr>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60" name="Text Placeholder 48">
            <a:extLst>
              <a:ext uri="{FF2B5EF4-FFF2-40B4-BE49-F238E27FC236}">
                <a16:creationId xmlns:a16="http://schemas.microsoft.com/office/drawing/2014/main" id="{780D5F73-D920-4B37-A30B-8B0C01CA9055}"/>
              </a:ext>
            </a:extLst>
          </p:cNvPr>
          <p:cNvSpPr>
            <a:spLocks noGrp="1"/>
          </p:cNvSpPr>
          <p:nvPr>
            <p:ph type="body" sz="quarter" idx="49" hasCustomPrompt="1"/>
          </p:nvPr>
        </p:nvSpPr>
        <p:spPr>
          <a:xfrm>
            <a:off x="4445144" y="2566572"/>
            <a:ext cx="3265200" cy="3230563"/>
          </a:xfrm>
          <a:solidFill>
            <a:schemeClr val="accent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62" name="Text Placeholder 52">
            <a:extLst>
              <a:ext uri="{FF2B5EF4-FFF2-40B4-BE49-F238E27FC236}">
                <a16:creationId xmlns:a16="http://schemas.microsoft.com/office/drawing/2014/main" id="{1BA023CA-4DEF-49AB-8B13-9C35C66A01B3}"/>
              </a:ext>
            </a:extLst>
          </p:cNvPr>
          <p:cNvSpPr>
            <a:spLocks noGrp="1"/>
          </p:cNvSpPr>
          <p:nvPr>
            <p:ph type="body" sz="quarter" idx="51" hasCustomPrompt="1"/>
          </p:nvPr>
        </p:nvSpPr>
        <p:spPr>
          <a:xfrm>
            <a:off x="4660033" y="3267454"/>
            <a:ext cx="2835423" cy="472283"/>
          </a:xfrm>
        </p:spPr>
        <p:txBody>
          <a:bodyPr>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63" name="Text Placeholder 54">
            <a:extLst>
              <a:ext uri="{FF2B5EF4-FFF2-40B4-BE49-F238E27FC236}">
                <a16:creationId xmlns:a16="http://schemas.microsoft.com/office/drawing/2014/main" id="{AB8B4903-A88A-4965-8183-092A3E9D8A8E}"/>
              </a:ext>
            </a:extLst>
          </p:cNvPr>
          <p:cNvSpPr>
            <a:spLocks noGrp="1"/>
          </p:cNvSpPr>
          <p:nvPr>
            <p:ph type="body" sz="quarter" idx="52" hasCustomPrompt="1"/>
          </p:nvPr>
        </p:nvSpPr>
        <p:spPr>
          <a:xfrm>
            <a:off x="4660033" y="3758063"/>
            <a:ext cx="2835423" cy="1900379"/>
          </a:xfrm>
        </p:spPr>
        <p:txBody>
          <a:bodyPr>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24" name="Picture Placeholder 23">
            <a:extLst>
              <a:ext uri="{FF2B5EF4-FFF2-40B4-BE49-F238E27FC236}">
                <a16:creationId xmlns:a16="http://schemas.microsoft.com/office/drawing/2014/main" id="{8C2F5525-D119-4DF3-9DC2-C314969B924E}"/>
              </a:ext>
            </a:extLst>
          </p:cNvPr>
          <p:cNvSpPr>
            <a:spLocks noGrp="1"/>
          </p:cNvSpPr>
          <p:nvPr>
            <p:ph type="pic" sz="quarter" idx="66" hasCustomPrompt="1"/>
          </p:nvPr>
        </p:nvSpPr>
        <p:spPr>
          <a:xfrm>
            <a:off x="811936" y="2638919"/>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a:t> Icon</a:t>
            </a:r>
            <a:endParaRPr lang="en-GB"/>
          </a:p>
        </p:txBody>
      </p:sp>
      <p:sp>
        <p:nvSpPr>
          <p:cNvPr id="26" name="Picture Placeholder 25">
            <a:extLst>
              <a:ext uri="{FF2B5EF4-FFF2-40B4-BE49-F238E27FC236}">
                <a16:creationId xmlns:a16="http://schemas.microsoft.com/office/drawing/2014/main" id="{0BC3B9F2-A6D5-4B30-837F-BFC148DE735F}"/>
              </a:ext>
            </a:extLst>
          </p:cNvPr>
          <p:cNvSpPr>
            <a:spLocks noGrp="1"/>
          </p:cNvSpPr>
          <p:nvPr>
            <p:ph type="pic" sz="quarter" idx="67" hasCustomPrompt="1"/>
          </p:nvPr>
        </p:nvSpPr>
        <p:spPr>
          <a:xfrm>
            <a:off x="4660033" y="2638919"/>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a:t> Icon</a:t>
            </a:r>
            <a:endParaRPr lang="en-GB"/>
          </a:p>
        </p:txBody>
      </p:sp>
      <p:sp>
        <p:nvSpPr>
          <p:cNvPr id="27" name="Picture Placeholder 26">
            <a:extLst>
              <a:ext uri="{FF2B5EF4-FFF2-40B4-BE49-F238E27FC236}">
                <a16:creationId xmlns:a16="http://schemas.microsoft.com/office/drawing/2014/main" id="{593B02B3-F1AA-4512-A0BE-113E1ACEFB90}"/>
              </a:ext>
            </a:extLst>
          </p:cNvPr>
          <p:cNvSpPr>
            <a:spLocks noGrp="1"/>
          </p:cNvSpPr>
          <p:nvPr>
            <p:ph type="pic" sz="quarter" idx="68" hasCustomPrompt="1"/>
          </p:nvPr>
        </p:nvSpPr>
        <p:spPr>
          <a:xfrm>
            <a:off x="8517692" y="2638919"/>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a:t> Icon</a:t>
            </a:r>
            <a:endParaRPr lang="en-GB"/>
          </a:p>
        </p:txBody>
      </p:sp>
      <p:sp>
        <p:nvSpPr>
          <p:cNvPr id="28" name="Picture Placeholder 27">
            <a:extLst>
              <a:ext uri="{FF2B5EF4-FFF2-40B4-BE49-F238E27FC236}">
                <a16:creationId xmlns:a16="http://schemas.microsoft.com/office/drawing/2014/main" id="{10456BB5-7D70-48B3-9DA6-4DC9EAC4486A}"/>
              </a:ext>
            </a:extLst>
          </p:cNvPr>
          <p:cNvSpPr>
            <a:spLocks noGrp="1"/>
          </p:cNvSpPr>
          <p:nvPr>
            <p:ph type="pic" sz="quarter" idx="69" hasCustomPrompt="1"/>
          </p:nvPr>
        </p:nvSpPr>
        <p:spPr>
          <a:xfrm>
            <a:off x="8527474" y="2638919"/>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a:t> Icon</a:t>
            </a:r>
            <a:endParaRPr lang="en-GB"/>
          </a:p>
        </p:txBody>
      </p:sp>
    </p:spTree>
    <p:custDataLst>
      <p:tags r:id="rId1"/>
    </p:custDataLst>
    <p:extLst>
      <p:ext uri="{BB962C8B-B14F-4D97-AF65-F5344CB8AC3E}">
        <p14:creationId xmlns:p14="http://schemas.microsoft.com/office/powerpoint/2010/main" val="3950028105"/>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hree Card Purpl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6800" y="393192"/>
            <a:ext cx="10974387" cy="548640"/>
          </a:xfrm>
        </p:spPr>
        <p:txBody>
          <a:bodyPr/>
          <a:lstStyle>
            <a:lvl1pPr>
              <a:defRPr>
                <a:solidFill>
                  <a:schemeClr val="bg1"/>
                </a:solidFill>
              </a:defRPr>
            </a:lvl1pPr>
          </a:lstStyle>
          <a:p>
            <a:r>
              <a:rPr lang="en-US"/>
              <a:t>H1 placeholder.</a:t>
            </a:r>
            <a:endParaRPr lang="en-GB"/>
          </a:p>
        </p:txBody>
      </p:sp>
      <p:sp>
        <p:nvSpPr>
          <p:cNvPr id="36" name="Text Placeholder 48">
            <a:extLst>
              <a:ext uri="{FF2B5EF4-FFF2-40B4-BE49-F238E27FC236}">
                <a16:creationId xmlns:a16="http://schemas.microsoft.com/office/drawing/2014/main" id="{06D84F95-E868-46D2-A73F-08ABA1B2CB87}"/>
              </a:ext>
            </a:extLst>
          </p:cNvPr>
          <p:cNvSpPr>
            <a:spLocks noGrp="1"/>
          </p:cNvSpPr>
          <p:nvPr>
            <p:ph type="body" sz="quarter" idx="41" hasCustomPrompt="1"/>
          </p:nvPr>
        </p:nvSpPr>
        <p:spPr>
          <a:xfrm>
            <a:off x="596471" y="2566567"/>
            <a:ext cx="3265200"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37" name="Text Placeholder 50">
            <a:extLst>
              <a:ext uri="{FF2B5EF4-FFF2-40B4-BE49-F238E27FC236}">
                <a16:creationId xmlns:a16="http://schemas.microsoft.com/office/drawing/2014/main" id="{81EDA88A-2709-4D24-B8AE-417D91E84CC4}"/>
              </a:ext>
            </a:extLst>
          </p:cNvPr>
          <p:cNvSpPr>
            <a:spLocks noGrp="1"/>
          </p:cNvSpPr>
          <p:nvPr>
            <p:ph type="body" sz="quarter" idx="42" hasCustomPrompt="1"/>
          </p:nvPr>
        </p:nvSpPr>
        <p:spPr>
          <a:xfrm>
            <a:off x="821033" y="2729080"/>
            <a:ext cx="581747" cy="320088"/>
          </a:xfrm>
        </p:spPr>
        <p:txBody>
          <a:bodyPr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a:t>
            </a:r>
          </a:p>
        </p:txBody>
      </p:sp>
      <p:sp>
        <p:nvSpPr>
          <p:cNvPr id="38" name="Text Placeholder 52">
            <a:extLst>
              <a:ext uri="{FF2B5EF4-FFF2-40B4-BE49-F238E27FC236}">
                <a16:creationId xmlns:a16="http://schemas.microsoft.com/office/drawing/2014/main" id="{210D2883-B369-42FD-9A9F-BBED7D37E6CB}"/>
              </a:ext>
            </a:extLst>
          </p:cNvPr>
          <p:cNvSpPr>
            <a:spLocks noGrp="1"/>
          </p:cNvSpPr>
          <p:nvPr>
            <p:ph type="body" sz="quarter" idx="43" hasCustomPrompt="1"/>
          </p:nvPr>
        </p:nvSpPr>
        <p:spPr>
          <a:xfrm>
            <a:off x="821032" y="3267449"/>
            <a:ext cx="2835423" cy="472283"/>
          </a:xfrm>
        </p:spPr>
        <p:txBody>
          <a:bodyPr>
            <a:normAutofit/>
          </a:bodyPr>
          <a:lstStyle>
            <a:lvl1pPr marL="0" indent="0">
              <a:buFont typeface="Arial" panose="020B0604020202020204" pitchFamily="34" charset="0"/>
              <a:buChar char="​"/>
              <a:defRPr sz="2000" b="1">
                <a:solidFill>
                  <a:schemeClr val="accent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39" name="Text Placeholder 54">
            <a:extLst>
              <a:ext uri="{FF2B5EF4-FFF2-40B4-BE49-F238E27FC236}">
                <a16:creationId xmlns:a16="http://schemas.microsoft.com/office/drawing/2014/main" id="{6DF758C0-3AE4-48AF-8CF8-47DCC8DD6412}"/>
              </a:ext>
            </a:extLst>
          </p:cNvPr>
          <p:cNvSpPr>
            <a:spLocks noGrp="1"/>
          </p:cNvSpPr>
          <p:nvPr>
            <p:ph type="body" sz="quarter" idx="44" hasCustomPrompt="1"/>
          </p:nvPr>
        </p:nvSpPr>
        <p:spPr>
          <a:xfrm>
            <a:off x="821032" y="3758058"/>
            <a:ext cx="2835423" cy="1900379"/>
          </a:xfrm>
        </p:spPr>
        <p:txBody>
          <a:bodyPr>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pPr lvl="0"/>
            <a:endParaRPr lang="en-US"/>
          </a:p>
        </p:txBody>
      </p:sp>
      <p:sp>
        <p:nvSpPr>
          <p:cNvPr id="40" name="Text Placeholder 48">
            <a:extLst>
              <a:ext uri="{FF2B5EF4-FFF2-40B4-BE49-F238E27FC236}">
                <a16:creationId xmlns:a16="http://schemas.microsoft.com/office/drawing/2014/main" id="{F9D46328-4BD8-4A79-ABF4-EBF5B6B528C2}"/>
              </a:ext>
            </a:extLst>
          </p:cNvPr>
          <p:cNvSpPr>
            <a:spLocks noGrp="1"/>
          </p:cNvSpPr>
          <p:nvPr>
            <p:ph type="body" sz="quarter" idx="45" hasCustomPrompt="1"/>
          </p:nvPr>
        </p:nvSpPr>
        <p:spPr>
          <a:xfrm>
            <a:off x="8302913" y="2566567"/>
            <a:ext cx="3265200"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41" name="Text Placeholder 50">
            <a:extLst>
              <a:ext uri="{FF2B5EF4-FFF2-40B4-BE49-F238E27FC236}">
                <a16:creationId xmlns:a16="http://schemas.microsoft.com/office/drawing/2014/main" id="{A97C235C-9C05-4EBE-8740-DEB4F71417BD}"/>
              </a:ext>
            </a:extLst>
          </p:cNvPr>
          <p:cNvSpPr>
            <a:spLocks noGrp="1"/>
          </p:cNvSpPr>
          <p:nvPr>
            <p:ph type="body" sz="quarter" idx="46" hasCustomPrompt="1"/>
          </p:nvPr>
        </p:nvSpPr>
        <p:spPr>
          <a:xfrm>
            <a:off x="8527475" y="2729080"/>
            <a:ext cx="581747" cy="320088"/>
          </a:xfrm>
        </p:spPr>
        <p:txBody>
          <a:bodyPr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a:t>
            </a:r>
          </a:p>
        </p:txBody>
      </p:sp>
      <p:sp>
        <p:nvSpPr>
          <p:cNvPr id="42" name="Text Placeholder 52">
            <a:extLst>
              <a:ext uri="{FF2B5EF4-FFF2-40B4-BE49-F238E27FC236}">
                <a16:creationId xmlns:a16="http://schemas.microsoft.com/office/drawing/2014/main" id="{A07E4113-30DF-4BE4-ABD5-C131459139B4}"/>
              </a:ext>
            </a:extLst>
          </p:cNvPr>
          <p:cNvSpPr>
            <a:spLocks noGrp="1"/>
          </p:cNvSpPr>
          <p:nvPr>
            <p:ph type="body" sz="quarter" idx="47" hasCustomPrompt="1"/>
          </p:nvPr>
        </p:nvSpPr>
        <p:spPr>
          <a:xfrm>
            <a:off x="8527474" y="3267449"/>
            <a:ext cx="2835423" cy="472283"/>
          </a:xfrm>
        </p:spPr>
        <p:txBody>
          <a:bodyPr>
            <a:normAutofit/>
          </a:bodyPr>
          <a:lstStyle>
            <a:lvl1pPr marL="0" indent="0">
              <a:buFont typeface="Arial" panose="020B0604020202020204" pitchFamily="34" charset="0"/>
              <a:buChar char="​"/>
              <a:defRPr sz="2000" b="1">
                <a:solidFill>
                  <a:schemeClr val="accent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43" name="Text Placeholder 54">
            <a:extLst>
              <a:ext uri="{FF2B5EF4-FFF2-40B4-BE49-F238E27FC236}">
                <a16:creationId xmlns:a16="http://schemas.microsoft.com/office/drawing/2014/main" id="{C154C572-5349-4230-A010-783098FAA626}"/>
              </a:ext>
            </a:extLst>
          </p:cNvPr>
          <p:cNvSpPr>
            <a:spLocks noGrp="1"/>
          </p:cNvSpPr>
          <p:nvPr>
            <p:ph type="body" sz="quarter" idx="48" hasCustomPrompt="1"/>
          </p:nvPr>
        </p:nvSpPr>
        <p:spPr>
          <a:xfrm>
            <a:off x="8527474" y="3758058"/>
            <a:ext cx="2835423" cy="1900379"/>
          </a:xfrm>
        </p:spPr>
        <p:txBody>
          <a:bodyPr>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44" name="Text Placeholder 48">
            <a:extLst>
              <a:ext uri="{FF2B5EF4-FFF2-40B4-BE49-F238E27FC236}">
                <a16:creationId xmlns:a16="http://schemas.microsoft.com/office/drawing/2014/main" id="{2A9503F2-6C04-4EB5-A1FE-D1AA91F620EA}"/>
              </a:ext>
            </a:extLst>
          </p:cNvPr>
          <p:cNvSpPr>
            <a:spLocks noGrp="1"/>
          </p:cNvSpPr>
          <p:nvPr>
            <p:ph type="body" sz="quarter" idx="49" hasCustomPrompt="1"/>
          </p:nvPr>
        </p:nvSpPr>
        <p:spPr>
          <a:xfrm>
            <a:off x="4449692" y="2566567"/>
            <a:ext cx="3265200"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45" name="Text Placeholder 50">
            <a:extLst>
              <a:ext uri="{FF2B5EF4-FFF2-40B4-BE49-F238E27FC236}">
                <a16:creationId xmlns:a16="http://schemas.microsoft.com/office/drawing/2014/main" id="{4A47C5A6-2D6D-43EF-AD25-01A38422DAB3}"/>
              </a:ext>
            </a:extLst>
          </p:cNvPr>
          <p:cNvSpPr>
            <a:spLocks noGrp="1"/>
          </p:cNvSpPr>
          <p:nvPr>
            <p:ph type="body" sz="quarter" idx="50" hasCustomPrompt="1"/>
          </p:nvPr>
        </p:nvSpPr>
        <p:spPr>
          <a:xfrm>
            <a:off x="4664580" y="2729080"/>
            <a:ext cx="581747" cy="320088"/>
          </a:xfrm>
        </p:spPr>
        <p:txBody>
          <a:bodyPr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a:t>
            </a:r>
          </a:p>
        </p:txBody>
      </p:sp>
      <p:sp>
        <p:nvSpPr>
          <p:cNvPr id="46" name="Text Placeholder 52">
            <a:extLst>
              <a:ext uri="{FF2B5EF4-FFF2-40B4-BE49-F238E27FC236}">
                <a16:creationId xmlns:a16="http://schemas.microsoft.com/office/drawing/2014/main" id="{ADAFF6D7-C0EB-41A9-87A5-DF5FB33F418C}"/>
              </a:ext>
            </a:extLst>
          </p:cNvPr>
          <p:cNvSpPr>
            <a:spLocks noGrp="1"/>
          </p:cNvSpPr>
          <p:nvPr>
            <p:ph type="body" sz="quarter" idx="51" hasCustomPrompt="1"/>
          </p:nvPr>
        </p:nvSpPr>
        <p:spPr>
          <a:xfrm>
            <a:off x="4664580" y="3267449"/>
            <a:ext cx="2835423" cy="472283"/>
          </a:xfrm>
        </p:spPr>
        <p:txBody>
          <a:bodyPr>
            <a:normAutofit/>
          </a:bodyPr>
          <a:lstStyle>
            <a:lvl1pPr marL="0" indent="0">
              <a:buFont typeface="Arial" panose="020B0604020202020204" pitchFamily="34" charset="0"/>
              <a:buChar char="​"/>
              <a:defRPr sz="2000" b="1">
                <a:solidFill>
                  <a:schemeClr val="accent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47" name="Text Placeholder 54">
            <a:extLst>
              <a:ext uri="{FF2B5EF4-FFF2-40B4-BE49-F238E27FC236}">
                <a16:creationId xmlns:a16="http://schemas.microsoft.com/office/drawing/2014/main" id="{D04A504D-FF13-4892-A718-34AEE7E09F8E}"/>
              </a:ext>
            </a:extLst>
          </p:cNvPr>
          <p:cNvSpPr>
            <a:spLocks noGrp="1"/>
          </p:cNvSpPr>
          <p:nvPr>
            <p:ph type="body" sz="quarter" idx="52" hasCustomPrompt="1"/>
          </p:nvPr>
        </p:nvSpPr>
        <p:spPr>
          <a:xfrm>
            <a:off x="4664580" y="3758058"/>
            <a:ext cx="2835423" cy="1900379"/>
          </a:xfrm>
        </p:spPr>
        <p:txBody>
          <a:bodyPr>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48" name="Text Placeholder 21">
            <a:extLst>
              <a:ext uri="{FF2B5EF4-FFF2-40B4-BE49-F238E27FC236}">
                <a16:creationId xmlns:a16="http://schemas.microsoft.com/office/drawing/2014/main" id="{75422B90-CE21-4871-B6F3-13BF6B22B2ED}"/>
              </a:ext>
            </a:extLst>
          </p:cNvPr>
          <p:cNvSpPr>
            <a:spLocks noGrp="1"/>
          </p:cNvSpPr>
          <p:nvPr>
            <p:ph type="body" sz="quarter" idx="37" hasCustomPrompt="1"/>
          </p:nvPr>
        </p:nvSpPr>
        <p:spPr>
          <a:xfrm>
            <a:off x="585216" y="1428331"/>
            <a:ext cx="10974388" cy="1048904"/>
          </a:xfrm>
        </p:spPr>
        <p:txBody>
          <a:bodyPr/>
          <a:lstStyle>
            <a:lvl1pPr marL="0" indent="0">
              <a:buFont typeface="Arial" panose="020B0604020202020204" pitchFamily="34" charset="0"/>
              <a:buChar char="​"/>
              <a:defRPr>
                <a:solidFill>
                  <a:schemeClr val="bg1"/>
                </a:solidFill>
              </a:defRPr>
            </a:lvl1pPr>
            <a:lvl2pPr>
              <a:buNone/>
              <a:defRPr/>
            </a:lvl2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pPr lvl="0"/>
            <a:endParaRPr lang="en-US"/>
          </a:p>
        </p:txBody>
      </p:sp>
      <p:sp>
        <p:nvSpPr>
          <p:cNvPr id="26" name="Slide Number Placeholder 2">
            <a:extLst>
              <a:ext uri="{FF2B5EF4-FFF2-40B4-BE49-F238E27FC236}">
                <a16:creationId xmlns:a16="http://schemas.microsoft.com/office/drawing/2014/main" id="{BA218430-7762-4C8C-9811-4173C180F125}"/>
              </a:ext>
            </a:extLst>
          </p:cNvPr>
          <p:cNvSpPr txBox="1">
            <a:spLocks/>
          </p:cNvSpPr>
          <p:nvPr userDrawn="1"/>
        </p:nvSpPr>
        <p:spPr>
          <a:xfrm>
            <a:off x="11494008" y="6476999"/>
            <a:ext cx="382601" cy="228600"/>
          </a:xfrm>
          <a:prstGeom prst="rect">
            <a:avLst/>
          </a:prstGeom>
        </p:spPr>
        <p:txBody>
          <a:bodyPr vert="horz" lIns="91440" tIns="0" rIns="91440" bIns="0" rtlCol="0" anchor="ctr" anchorCtr="0"/>
          <a:lstStyle>
            <a:defPPr>
              <a:defRPr lang="en-US"/>
            </a:defPPr>
            <a:lvl1pPr algn="r">
              <a:defRPr sz="1000">
                <a:solidFill>
                  <a:srgbClr val="E0044E"/>
                </a:solidFill>
                <a:latin typeface="Segoe UI" panose="020B0502040204020203" pitchFamily="34" charset="0"/>
                <a:cs typeface="Segoe UI" panose="020B0502040204020203" pitchFamily="34" charset="0"/>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lvl="0"/>
            <a:fld id="{E20330FD-FE2A-483E-B0C7-29AD7FB3CAEB}" type="slidenum">
              <a:rPr lang="en-GB" noProof="0" smtClean="0">
                <a:solidFill>
                  <a:schemeClr val="bg1"/>
                </a:solidFill>
              </a:rPr>
              <a:pPr lvl="0"/>
              <a:t>‹#›</a:t>
            </a:fld>
            <a:endParaRPr lang="en-GB" noProof="0">
              <a:solidFill>
                <a:schemeClr val="bg1"/>
              </a:solidFill>
            </a:endParaRPr>
          </a:p>
        </p:txBody>
      </p:sp>
      <p:pic>
        <p:nvPicPr>
          <p:cNvPr id="20" name="Graphic 19">
            <a:extLst>
              <a:ext uri="{FF2B5EF4-FFF2-40B4-BE49-F238E27FC236}">
                <a16:creationId xmlns:a16="http://schemas.microsoft.com/office/drawing/2014/main" id="{291DC845-40CC-4A71-BDA3-F219E5BBD88B}"/>
              </a:ext>
            </a:extLst>
          </p:cNvPr>
          <p:cNvPicPr>
            <a:picLocks/>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07040" y="6556248"/>
            <a:ext cx="813816" cy="82296"/>
          </a:xfrm>
          <a:prstGeom prst="rect">
            <a:avLst/>
          </a:prstGeom>
        </p:spPr>
      </p:pic>
    </p:spTree>
    <p:custDataLst>
      <p:tags r:id="rId1"/>
    </p:custDataLst>
    <p:extLst>
      <p:ext uri="{BB962C8B-B14F-4D97-AF65-F5344CB8AC3E}">
        <p14:creationId xmlns:p14="http://schemas.microsoft.com/office/powerpoint/2010/main" val="256145141"/>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hree Card Purple with Icon Placeholder">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6800" y="393192"/>
            <a:ext cx="10974387" cy="548640"/>
          </a:xfrm>
        </p:spPr>
        <p:txBody>
          <a:bodyPr/>
          <a:lstStyle>
            <a:lvl1pPr>
              <a:defRPr>
                <a:solidFill>
                  <a:schemeClr val="bg1"/>
                </a:solidFill>
              </a:defRPr>
            </a:lvl1pPr>
          </a:lstStyle>
          <a:p>
            <a:r>
              <a:rPr lang="en-US"/>
              <a:t>H1 placeholder.</a:t>
            </a:r>
            <a:endParaRPr lang="en-GB"/>
          </a:p>
        </p:txBody>
      </p:sp>
      <p:sp>
        <p:nvSpPr>
          <p:cNvPr id="36" name="Text Placeholder 48">
            <a:extLst>
              <a:ext uri="{FF2B5EF4-FFF2-40B4-BE49-F238E27FC236}">
                <a16:creationId xmlns:a16="http://schemas.microsoft.com/office/drawing/2014/main" id="{06D84F95-E868-46D2-A73F-08ABA1B2CB87}"/>
              </a:ext>
            </a:extLst>
          </p:cNvPr>
          <p:cNvSpPr>
            <a:spLocks noGrp="1"/>
          </p:cNvSpPr>
          <p:nvPr>
            <p:ph type="body" sz="quarter" idx="41" hasCustomPrompt="1"/>
          </p:nvPr>
        </p:nvSpPr>
        <p:spPr>
          <a:xfrm>
            <a:off x="596471" y="2566568"/>
            <a:ext cx="3265200"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38" name="Text Placeholder 52">
            <a:extLst>
              <a:ext uri="{FF2B5EF4-FFF2-40B4-BE49-F238E27FC236}">
                <a16:creationId xmlns:a16="http://schemas.microsoft.com/office/drawing/2014/main" id="{210D2883-B369-42FD-9A9F-BBED7D37E6CB}"/>
              </a:ext>
            </a:extLst>
          </p:cNvPr>
          <p:cNvSpPr>
            <a:spLocks noGrp="1"/>
          </p:cNvSpPr>
          <p:nvPr>
            <p:ph type="body" sz="quarter" idx="43" hasCustomPrompt="1"/>
          </p:nvPr>
        </p:nvSpPr>
        <p:spPr>
          <a:xfrm>
            <a:off x="821032" y="3267450"/>
            <a:ext cx="2835423" cy="472283"/>
          </a:xfrm>
        </p:spPr>
        <p:txBody>
          <a:bodyPr>
            <a:normAutofit/>
          </a:bodyPr>
          <a:lstStyle>
            <a:lvl1pPr marL="0" indent="0">
              <a:buFont typeface="Arial" panose="020B0604020202020204" pitchFamily="34" charset="0"/>
              <a:buChar char="​"/>
              <a:defRPr sz="2000" b="1">
                <a:solidFill>
                  <a:schemeClr val="accent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39" name="Text Placeholder 54">
            <a:extLst>
              <a:ext uri="{FF2B5EF4-FFF2-40B4-BE49-F238E27FC236}">
                <a16:creationId xmlns:a16="http://schemas.microsoft.com/office/drawing/2014/main" id="{6DF758C0-3AE4-48AF-8CF8-47DCC8DD6412}"/>
              </a:ext>
            </a:extLst>
          </p:cNvPr>
          <p:cNvSpPr>
            <a:spLocks noGrp="1"/>
          </p:cNvSpPr>
          <p:nvPr>
            <p:ph type="body" sz="quarter" idx="44" hasCustomPrompt="1"/>
          </p:nvPr>
        </p:nvSpPr>
        <p:spPr>
          <a:xfrm>
            <a:off x="821032" y="3758059"/>
            <a:ext cx="2835423" cy="1900379"/>
          </a:xfrm>
        </p:spPr>
        <p:txBody>
          <a:bodyPr>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pPr lvl="0"/>
            <a:endParaRPr lang="en-US"/>
          </a:p>
        </p:txBody>
      </p:sp>
      <p:sp>
        <p:nvSpPr>
          <p:cNvPr id="40" name="Text Placeholder 48">
            <a:extLst>
              <a:ext uri="{FF2B5EF4-FFF2-40B4-BE49-F238E27FC236}">
                <a16:creationId xmlns:a16="http://schemas.microsoft.com/office/drawing/2014/main" id="{F9D46328-4BD8-4A79-ABF4-EBF5B6B528C2}"/>
              </a:ext>
            </a:extLst>
          </p:cNvPr>
          <p:cNvSpPr>
            <a:spLocks noGrp="1"/>
          </p:cNvSpPr>
          <p:nvPr>
            <p:ph type="body" sz="quarter" idx="45" hasCustomPrompt="1"/>
          </p:nvPr>
        </p:nvSpPr>
        <p:spPr>
          <a:xfrm>
            <a:off x="8302913" y="2566568"/>
            <a:ext cx="3265200"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42" name="Text Placeholder 52">
            <a:extLst>
              <a:ext uri="{FF2B5EF4-FFF2-40B4-BE49-F238E27FC236}">
                <a16:creationId xmlns:a16="http://schemas.microsoft.com/office/drawing/2014/main" id="{A07E4113-30DF-4BE4-ABD5-C131459139B4}"/>
              </a:ext>
            </a:extLst>
          </p:cNvPr>
          <p:cNvSpPr>
            <a:spLocks noGrp="1"/>
          </p:cNvSpPr>
          <p:nvPr>
            <p:ph type="body" sz="quarter" idx="47" hasCustomPrompt="1"/>
          </p:nvPr>
        </p:nvSpPr>
        <p:spPr>
          <a:xfrm>
            <a:off x="8527474" y="3267450"/>
            <a:ext cx="2835423" cy="472283"/>
          </a:xfrm>
        </p:spPr>
        <p:txBody>
          <a:bodyPr>
            <a:normAutofit/>
          </a:bodyPr>
          <a:lstStyle>
            <a:lvl1pPr marL="0" indent="0">
              <a:buFont typeface="Arial" panose="020B0604020202020204" pitchFamily="34" charset="0"/>
              <a:buChar char="​"/>
              <a:defRPr sz="2000" b="1">
                <a:solidFill>
                  <a:schemeClr val="accent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43" name="Text Placeholder 54">
            <a:extLst>
              <a:ext uri="{FF2B5EF4-FFF2-40B4-BE49-F238E27FC236}">
                <a16:creationId xmlns:a16="http://schemas.microsoft.com/office/drawing/2014/main" id="{C154C572-5349-4230-A010-783098FAA626}"/>
              </a:ext>
            </a:extLst>
          </p:cNvPr>
          <p:cNvSpPr>
            <a:spLocks noGrp="1"/>
          </p:cNvSpPr>
          <p:nvPr>
            <p:ph type="body" sz="quarter" idx="48" hasCustomPrompt="1"/>
          </p:nvPr>
        </p:nvSpPr>
        <p:spPr>
          <a:xfrm>
            <a:off x="8527474" y="3758059"/>
            <a:ext cx="2835423" cy="1900379"/>
          </a:xfrm>
        </p:spPr>
        <p:txBody>
          <a:bodyPr>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44" name="Text Placeholder 48">
            <a:extLst>
              <a:ext uri="{FF2B5EF4-FFF2-40B4-BE49-F238E27FC236}">
                <a16:creationId xmlns:a16="http://schemas.microsoft.com/office/drawing/2014/main" id="{2A9503F2-6C04-4EB5-A1FE-D1AA91F620EA}"/>
              </a:ext>
            </a:extLst>
          </p:cNvPr>
          <p:cNvSpPr>
            <a:spLocks noGrp="1"/>
          </p:cNvSpPr>
          <p:nvPr>
            <p:ph type="body" sz="quarter" idx="49" hasCustomPrompt="1"/>
          </p:nvPr>
        </p:nvSpPr>
        <p:spPr>
          <a:xfrm>
            <a:off x="4449692" y="2566568"/>
            <a:ext cx="3265200"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46" name="Text Placeholder 52">
            <a:extLst>
              <a:ext uri="{FF2B5EF4-FFF2-40B4-BE49-F238E27FC236}">
                <a16:creationId xmlns:a16="http://schemas.microsoft.com/office/drawing/2014/main" id="{ADAFF6D7-C0EB-41A9-87A5-DF5FB33F418C}"/>
              </a:ext>
            </a:extLst>
          </p:cNvPr>
          <p:cNvSpPr>
            <a:spLocks noGrp="1"/>
          </p:cNvSpPr>
          <p:nvPr>
            <p:ph type="body" sz="quarter" idx="51" hasCustomPrompt="1"/>
          </p:nvPr>
        </p:nvSpPr>
        <p:spPr>
          <a:xfrm>
            <a:off x="4664580" y="3267450"/>
            <a:ext cx="2835423" cy="472283"/>
          </a:xfrm>
        </p:spPr>
        <p:txBody>
          <a:bodyPr>
            <a:normAutofit/>
          </a:bodyPr>
          <a:lstStyle>
            <a:lvl1pPr marL="0" indent="0">
              <a:buFont typeface="Arial" panose="020B0604020202020204" pitchFamily="34" charset="0"/>
              <a:buChar char="​"/>
              <a:defRPr sz="2000" b="1">
                <a:solidFill>
                  <a:schemeClr val="accent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47" name="Text Placeholder 54">
            <a:extLst>
              <a:ext uri="{FF2B5EF4-FFF2-40B4-BE49-F238E27FC236}">
                <a16:creationId xmlns:a16="http://schemas.microsoft.com/office/drawing/2014/main" id="{D04A504D-FF13-4892-A718-34AEE7E09F8E}"/>
              </a:ext>
            </a:extLst>
          </p:cNvPr>
          <p:cNvSpPr>
            <a:spLocks noGrp="1"/>
          </p:cNvSpPr>
          <p:nvPr>
            <p:ph type="body" sz="quarter" idx="52" hasCustomPrompt="1"/>
          </p:nvPr>
        </p:nvSpPr>
        <p:spPr>
          <a:xfrm>
            <a:off x="4664580" y="3758059"/>
            <a:ext cx="2835423" cy="1900379"/>
          </a:xfrm>
        </p:spPr>
        <p:txBody>
          <a:bodyPr>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48" name="Text Placeholder 21">
            <a:extLst>
              <a:ext uri="{FF2B5EF4-FFF2-40B4-BE49-F238E27FC236}">
                <a16:creationId xmlns:a16="http://schemas.microsoft.com/office/drawing/2014/main" id="{75422B90-CE21-4871-B6F3-13BF6B22B2ED}"/>
              </a:ext>
            </a:extLst>
          </p:cNvPr>
          <p:cNvSpPr>
            <a:spLocks noGrp="1"/>
          </p:cNvSpPr>
          <p:nvPr>
            <p:ph type="body" sz="quarter" idx="37" hasCustomPrompt="1"/>
          </p:nvPr>
        </p:nvSpPr>
        <p:spPr>
          <a:xfrm>
            <a:off x="585216" y="1428332"/>
            <a:ext cx="10974388" cy="1048904"/>
          </a:xfrm>
        </p:spPr>
        <p:txBody>
          <a:bodyPr/>
          <a:lstStyle>
            <a:lvl1pPr marL="0" indent="0">
              <a:buFont typeface="Arial" panose="020B0604020202020204" pitchFamily="34" charset="0"/>
              <a:buChar char="​"/>
              <a:defRPr>
                <a:solidFill>
                  <a:schemeClr val="bg1"/>
                </a:solidFill>
              </a:defRPr>
            </a:lvl1pPr>
            <a:lvl2pPr>
              <a:buNone/>
              <a:defRPr/>
            </a:lvl2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pPr lvl="0"/>
            <a:endParaRPr lang="en-US"/>
          </a:p>
        </p:txBody>
      </p:sp>
      <p:sp>
        <p:nvSpPr>
          <p:cNvPr id="25" name="Picture Placeholder 24">
            <a:extLst>
              <a:ext uri="{FF2B5EF4-FFF2-40B4-BE49-F238E27FC236}">
                <a16:creationId xmlns:a16="http://schemas.microsoft.com/office/drawing/2014/main" id="{DF7EB697-AC57-4162-96B6-5B35E3271D27}"/>
              </a:ext>
            </a:extLst>
          </p:cNvPr>
          <p:cNvSpPr>
            <a:spLocks noGrp="1"/>
          </p:cNvSpPr>
          <p:nvPr>
            <p:ph type="pic" sz="quarter" idx="66" hasCustomPrompt="1"/>
          </p:nvPr>
        </p:nvSpPr>
        <p:spPr>
          <a:xfrm>
            <a:off x="821032" y="2638915"/>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a:t> Icon</a:t>
            </a:r>
            <a:endParaRPr lang="en-GB"/>
          </a:p>
        </p:txBody>
      </p:sp>
      <p:sp>
        <p:nvSpPr>
          <p:cNvPr id="26" name="Picture Placeholder 25">
            <a:extLst>
              <a:ext uri="{FF2B5EF4-FFF2-40B4-BE49-F238E27FC236}">
                <a16:creationId xmlns:a16="http://schemas.microsoft.com/office/drawing/2014/main" id="{A3DCCFFF-6C66-478A-9A58-F5961E76C15F}"/>
              </a:ext>
            </a:extLst>
          </p:cNvPr>
          <p:cNvSpPr>
            <a:spLocks noGrp="1"/>
          </p:cNvSpPr>
          <p:nvPr>
            <p:ph type="pic" sz="quarter" idx="67" hasCustomPrompt="1"/>
          </p:nvPr>
        </p:nvSpPr>
        <p:spPr>
          <a:xfrm>
            <a:off x="4664580" y="2638915"/>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a:t> Icon</a:t>
            </a:r>
            <a:endParaRPr lang="en-GB"/>
          </a:p>
        </p:txBody>
      </p:sp>
      <p:sp>
        <p:nvSpPr>
          <p:cNvPr id="27" name="Picture Placeholder 26">
            <a:extLst>
              <a:ext uri="{FF2B5EF4-FFF2-40B4-BE49-F238E27FC236}">
                <a16:creationId xmlns:a16="http://schemas.microsoft.com/office/drawing/2014/main" id="{EB6CF17D-B4FD-4A75-95EA-ECBDE5F69CCB}"/>
              </a:ext>
            </a:extLst>
          </p:cNvPr>
          <p:cNvSpPr>
            <a:spLocks noGrp="1"/>
          </p:cNvSpPr>
          <p:nvPr>
            <p:ph type="pic" sz="quarter" idx="68" hasCustomPrompt="1"/>
          </p:nvPr>
        </p:nvSpPr>
        <p:spPr>
          <a:xfrm>
            <a:off x="8527474" y="2638915"/>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a:t> Icon</a:t>
            </a:r>
            <a:endParaRPr lang="en-GB"/>
          </a:p>
        </p:txBody>
      </p:sp>
      <p:sp>
        <p:nvSpPr>
          <p:cNvPr id="20" name="Slide Number Placeholder 2">
            <a:extLst>
              <a:ext uri="{FF2B5EF4-FFF2-40B4-BE49-F238E27FC236}">
                <a16:creationId xmlns:a16="http://schemas.microsoft.com/office/drawing/2014/main" id="{B2D2CCA6-F939-4C0A-9296-D8B95A964FFB}"/>
              </a:ext>
            </a:extLst>
          </p:cNvPr>
          <p:cNvSpPr txBox="1">
            <a:spLocks/>
          </p:cNvSpPr>
          <p:nvPr userDrawn="1"/>
        </p:nvSpPr>
        <p:spPr>
          <a:xfrm>
            <a:off x="11494008" y="6476999"/>
            <a:ext cx="382601" cy="228600"/>
          </a:xfrm>
          <a:prstGeom prst="rect">
            <a:avLst/>
          </a:prstGeom>
        </p:spPr>
        <p:txBody>
          <a:bodyPr vert="horz" lIns="91440" tIns="0" rIns="91440" bIns="0" rtlCol="0" anchor="ctr" anchorCtr="0"/>
          <a:lstStyle>
            <a:defPPr>
              <a:defRPr lang="en-US"/>
            </a:defPPr>
            <a:lvl1pPr algn="r">
              <a:defRPr sz="1000">
                <a:solidFill>
                  <a:srgbClr val="E0044E"/>
                </a:solidFill>
                <a:latin typeface="Segoe UI" panose="020B0502040204020203" pitchFamily="34" charset="0"/>
                <a:cs typeface="Segoe UI" panose="020B0502040204020203" pitchFamily="34" charset="0"/>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lvl="0"/>
            <a:fld id="{E20330FD-FE2A-483E-B0C7-29AD7FB3CAEB}" type="slidenum">
              <a:rPr lang="en-GB" noProof="0" smtClean="0">
                <a:solidFill>
                  <a:schemeClr val="bg1"/>
                </a:solidFill>
              </a:rPr>
              <a:pPr lvl="0"/>
              <a:t>‹#›</a:t>
            </a:fld>
            <a:endParaRPr lang="en-GB" noProof="0">
              <a:solidFill>
                <a:schemeClr val="bg1"/>
              </a:solidFill>
            </a:endParaRPr>
          </a:p>
        </p:txBody>
      </p:sp>
      <p:pic>
        <p:nvPicPr>
          <p:cNvPr id="21" name="Graphic 20">
            <a:extLst>
              <a:ext uri="{FF2B5EF4-FFF2-40B4-BE49-F238E27FC236}">
                <a16:creationId xmlns:a16="http://schemas.microsoft.com/office/drawing/2014/main" id="{573A6244-8222-446C-96AD-BABBBC447388}"/>
              </a:ext>
            </a:extLst>
          </p:cNvPr>
          <p:cNvPicPr>
            <a:picLocks/>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07040" y="6556248"/>
            <a:ext cx="813816" cy="82296"/>
          </a:xfrm>
          <a:prstGeom prst="rect">
            <a:avLst/>
          </a:prstGeom>
        </p:spPr>
      </p:pic>
    </p:spTree>
    <p:custDataLst>
      <p:tags r:id="rId1"/>
    </p:custDataLst>
    <p:extLst>
      <p:ext uri="{BB962C8B-B14F-4D97-AF65-F5344CB8AC3E}">
        <p14:creationId xmlns:p14="http://schemas.microsoft.com/office/powerpoint/2010/main" val="1515872042"/>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7AA6CB-8D8E-4205-94CC-B70068D5CCA9}"/>
              </a:ext>
            </a:extLst>
          </p:cNvPr>
          <p:cNvGraphicFramePr>
            <a:graphicFrameLocks noChangeAspect="1"/>
          </p:cNvGraphicFramePr>
          <p:nvPr userDrawn="1">
            <p:custDataLst>
              <p:tags r:id="rId2"/>
            </p:custDataLst>
            <p:extLst>
              <p:ext uri="{D42A27DB-BD31-4B8C-83A1-F6EECF244321}">
                <p14:modId xmlns:p14="http://schemas.microsoft.com/office/powerpoint/2010/main" val="1097563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537AA6CB-8D8E-4205-94CC-B70068D5CC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Content Placeholder 7">
            <a:extLst>
              <a:ext uri="{FF2B5EF4-FFF2-40B4-BE49-F238E27FC236}">
                <a16:creationId xmlns:a16="http://schemas.microsoft.com/office/drawing/2014/main" id="{DDE739AD-5980-4E0D-B84C-F2EB05361B57}"/>
              </a:ext>
            </a:extLst>
          </p:cNvPr>
          <p:cNvSpPr>
            <a:spLocks noGrp="1"/>
          </p:cNvSpPr>
          <p:nvPr>
            <p:ph sz="quarter" idx="27" hasCustomPrompt="1"/>
          </p:nvPr>
        </p:nvSpPr>
        <p:spPr>
          <a:xfrm>
            <a:off x="9192113" y="2566568"/>
            <a:ext cx="2376000" cy="3230565"/>
          </a:xfrm>
          <a:ln>
            <a:solidFill>
              <a:schemeClr val="bg1">
                <a:alpha val="0"/>
              </a:schemeClr>
            </a:solidFill>
          </a:ln>
        </p:spPr>
        <p:txBody>
          <a:bodyPr/>
          <a:lstStyle/>
          <a:p>
            <a:pPr lvl="0"/>
            <a:r>
              <a:rPr lang="en-US"/>
              <a:t>Bullet level 1</a:t>
            </a:r>
          </a:p>
          <a:p>
            <a:pPr lvl="1"/>
            <a:r>
              <a:rPr lang="en-US"/>
              <a:t>Second level</a:t>
            </a:r>
          </a:p>
          <a:p>
            <a:pPr lvl="2"/>
            <a:r>
              <a:rPr lang="en-US"/>
              <a:t>Third level</a:t>
            </a:r>
          </a:p>
        </p:txBody>
      </p:sp>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5" y="393192"/>
            <a:ext cx="10980737" cy="548640"/>
          </a:xfrm>
        </p:spPr>
        <p:txBody>
          <a:bodyPr vert="horz"/>
          <a:lstStyle>
            <a:lvl1pPr>
              <a:defRPr>
                <a:solidFill>
                  <a:schemeClr val="accent1"/>
                </a:solidFill>
              </a:defRPr>
            </a:lvl1pPr>
          </a:lstStyle>
          <a:p>
            <a:r>
              <a:rPr lang="en-US"/>
              <a:t>H1 placeholder.</a:t>
            </a:r>
            <a:endParaRPr lang="en-GB"/>
          </a:p>
        </p:txBody>
      </p:sp>
      <p:sp>
        <p:nvSpPr>
          <p:cNvPr id="28" name="Text Placeholder 21">
            <a:extLst>
              <a:ext uri="{FF2B5EF4-FFF2-40B4-BE49-F238E27FC236}">
                <a16:creationId xmlns:a16="http://schemas.microsoft.com/office/drawing/2014/main" id="{6077B1DF-0E6D-437A-9F03-5E9FC70C61C1}"/>
              </a:ext>
            </a:extLst>
          </p:cNvPr>
          <p:cNvSpPr>
            <a:spLocks noGrp="1"/>
          </p:cNvSpPr>
          <p:nvPr>
            <p:ph type="body" sz="quarter" idx="37" hasCustomPrompt="1"/>
          </p:nvPr>
        </p:nvSpPr>
        <p:spPr>
          <a:xfrm>
            <a:off x="587375" y="1428334"/>
            <a:ext cx="10980738" cy="1048904"/>
          </a:xfrm>
        </p:spPr>
        <p:txBody>
          <a:bodyPr/>
          <a:lstStyle>
            <a:lvl1pPr marL="0" indent="0">
              <a:buFont typeface="Arial" panose="020B0604020202020204" pitchFamily="34" charset="0"/>
              <a:buChar char="​"/>
              <a:defRPr/>
            </a:lvl1pPr>
            <a:lvl2pPr>
              <a:buNone/>
              <a:defRPr/>
            </a:lvl2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pPr lvl="0"/>
            <a:endParaRPr lang="en-US"/>
          </a:p>
        </p:txBody>
      </p:sp>
      <p:sp>
        <p:nvSpPr>
          <p:cNvPr id="11" name="Content Placeholder 4">
            <a:extLst>
              <a:ext uri="{FF2B5EF4-FFF2-40B4-BE49-F238E27FC236}">
                <a16:creationId xmlns:a16="http://schemas.microsoft.com/office/drawing/2014/main" id="{03FC7343-0352-4874-A290-391F53EA9710}"/>
              </a:ext>
            </a:extLst>
          </p:cNvPr>
          <p:cNvSpPr>
            <a:spLocks noGrp="1"/>
          </p:cNvSpPr>
          <p:nvPr>
            <p:ph sz="quarter" idx="25" hasCustomPrompt="1"/>
          </p:nvPr>
        </p:nvSpPr>
        <p:spPr>
          <a:xfrm>
            <a:off x="587376" y="2566568"/>
            <a:ext cx="2375999" cy="3230563"/>
          </a:xfrm>
          <a:prstGeom prst="callout1">
            <a:avLst>
              <a:gd name="adj1" fmla="val 1492"/>
              <a:gd name="adj2" fmla="val 110261"/>
              <a:gd name="adj3" fmla="val 92739"/>
              <a:gd name="adj4" fmla="val 110208"/>
            </a:avLst>
          </a:prstGeom>
          <a:ln>
            <a:solidFill>
              <a:srgbClr val="BCBEC0"/>
            </a:solidFill>
          </a:ln>
        </p:spPr>
        <p:txBody>
          <a:bodyPr/>
          <a:lstStyle>
            <a:lvl1pPr>
              <a:defRPr/>
            </a:lvl1pPr>
          </a:lstStyle>
          <a:p>
            <a:pPr lvl="0"/>
            <a:r>
              <a:rPr lang="en-US"/>
              <a:t>Bullet level 1</a:t>
            </a:r>
          </a:p>
          <a:p>
            <a:pPr lvl="1"/>
            <a:r>
              <a:rPr lang="en-US"/>
              <a:t>Second level</a:t>
            </a:r>
          </a:p>
          <a:p>
            <a:pPr lvl="2"/>
            <a:r>
              <a:rPr lang="en-US"/>
              <a:t>Third level</a:t>
            </a:r>
          </a:p>
        </p:txBody>
      </p:sp>
      <p:sp>
        <p:nvSpPr>
          <p:cNvPr id="16" name="Content Placeholder 4">
            <a:extLst>
              <a:ext uri="{FF2B5EF4-FFF2-40B4-BE49-F238E27FC236}">
                <a16:creationId xmlns:a16="http://schemas.microsoft.com/office/drawing/2014/main" id="{E72365BE-5B5C-4545-8907-1B40E8A35AAF}"/>
              </a:ext>
            </a:extLst>
          </p:cNvPr>
          <p:cNvSpPr>
            <a:spLocks noGrp="1"/>
          </p:cNvSpPr>
          <p:nvPr>
            <p:ph sz="quarter" idx="44" hasCustomPrompt="1"/>
          </p:nvPr>
        </p:nvSpPr>
        <p:spPr>
          <a:xfrm>
            <a:off x="3455622" y="2566568"/>
            <a:ext cx="2375999" cy="3230563"/>
          </a:xfrm>
          <a:prstGeom prst="callout1">
            <a:avLst>
              <a:gd name="adj1" fmla="val 1492"/>
              <a:gd name="adj2" fmla="val 110261"/>
              <a:gd name="adj3" fmla="val 92739"/>
              <a:gd name="adj4" fmla="val 110208"/>
            </a:avLst>
          </a:prstGeom>
          <a:ln>
            <a:solidFill>
              <a:srgbClr val="BCBEC0"/>
            </a:solidFill>
          </a:ln>
        </p:spPr>
        <p:txBody>
          <a:bodyPr/>
          <a:lstStyle>
            <a:lvl1pPr>
              <a:defRPr/>
            </a:lvl1pPr>
          </a:lstStyle>
          <a:p>
            <a:pPr lvl="0"/>
            <a:r>
              <a:rPr lang="en-US"/>
              <a:t>Bullet level 1</a:t>
            </a:r>
          </a:p>
          <a:p>
            <a:pPr lvl="1"/>
            <a:r>
              <a:rPr lang="en-US"/>
              <a:t>Second level</a:t>
            </a:r>
          </a:p>
          <a:p>
            <a:pPr lvl="2"/>
            <a:r>
              <a:rPr lang="en-US"/>
              <a:t>Third level</a:t>
            </a:r>
          </a:p>
        </p:txBody>
      </p:sp>
      <p:sp>
        <p:nvSpPr>
          <p:cNvPr id="17" name="Content Placeholder 4">
            <a:extLst>
              <a:ext uri="{FF2B5EF4-FFF2-40B4-BE49-F238E27FC236}">
                <a16:creationId xmlns:a16="http://schemas.microsoft.com/office/drawing/2014/main" id="{80803A9E-59C1-41C5-9AF1-AFC64606BE81}"/>
              </a:ext>
            </a:extLst>
          </p:cNvPr>
          <p:cNvSpPr>
            <a:spLocks noGrp="1"/>
          </p:cNvSpPr>
          <p:nvPr>
            <p:ph sz="quarter" idx="45" hasCustomPrompt="1"/>
          </p:nvPr>
        </p:nvSpPr>
        <p:spPr>
          <a:xfrm>
            <a:off x="6323868" y="2566568"/>
            <a:ext cx="2375999" cy="3230563"/>
          </a:xfrm>
          <a:prstGeom prst="callout1">
            <a:avLst>
              <a:gd name="adj1" fmla="val 1492"/>
              <a:gd name="adj2" fmla="val 110261"/>
              <a:gd name="adj3" fmla="val 92739"/>
              <a:gd name="adj4" fmla="val 110208"/>
            </a:avLst>
          </a:prstGeom>
          <a:ln>
            <a:solidFill>
              <a:srgbClr val="BCBEC0"/>
            </a:solidFill>
          </a:ln>
        </p:spPr>
        <p:txBody>
          <a:bodyPr/>
          <a:lstStyle>
            <a:lvl1pPr>
              <a:defRPr/>
            </a:lvl1pPr>
          </a:lstStyle>
          <a:p>
            <a:pPr lvl="0"/>
            <a:r>
              <a:rPr lang="en-US"/>
              <a:t>Bullet level 1</a:t>
            </a:r>
          </a:p>
          <a:p>
            <a:pPr lvl="1"/>
            <a:r>
              <a:rPr lang="en-US"/>
              <a:t>Second level</a:t>
            </a:r>
          </a:p>
          <a:p>
            <a:pPr lvl="2"/>
            <a:r>
              <a:rPr lang="en-US"/>
              <a:t>Third level</a:t>
            </a:r>
          </a:p>
        </p:txBody>
      </p:sp>
    </p:spTree>
    <p:custDataLst>
      <p:tags r:id="rId1"/>
    </p:custDataLst>
    <p:extLst>
      <p:ext uri="{BB962C8B-B14F-4D97-AF65-F5344CB8AC3E}">
        <p14:creationId xmlns:p14="http://schemas.microsoft.com/office/powerpoint/2010/main" val="2985421385"/>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ur Card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7C5D118-D366-4D54-80D6-4AF8A69AC6A2}"/>
              </a:ext>
            </a:extLst>
          </p:cNvPr>
          <p:cNvGraphicFramePr>
            <a:graphicFrameLocks noChangeAspect="1"/>
          </p:cNvGraphicFramePr>
          <p:nvPr userDrawn="1">
            <p:custDataLst>
              <p:tags r:id="rId2"/>
            </p:custDataLst>
            <p:extLst>
              <p:ext uri="{D42A27DB-BD31-4B8C-83A1-F6EECF244321}">
                <p14:modId xmlns:p14="http://schemas.microsoft.com/office/powerpoint/2010/main" val="113691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47C5D118-D366-4D54-80D6-4AF8A69AC6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Freeform: Shape 29">
            <a:extLst>
              <a:ext uri="{FF2B5EF4-FFF2-40B4-BE49-F238E27FC236}">
                <a16:creationId xmlns:a16="http://schemas.microsoft.com/office/drawing/2014/main" id="{B8882182-E9AF-4F43-8965-F8083F60F3CE}"/>
              </a:ext>
            </a:extLst>
          </p:cNvPr>
          <p:cNvSpPr>
            <a:spLocks noChangeAspect="1"/>
          </p:cNvSpPr>
          <p:nvPr userDrawn="1"/>
        </p:nvSpPr>
        <p:spPr>
          <a:xfrm>
            <a:off x="10475976" y="1431636"/>
            <a:ext cx="1716024" cy="1784788"/>
          </a:xfrm>
          <a:custGeom>
            <a:avLst/>
            <a:gdLst>
              <a:gd name="connsiteX0" fmla="*/ 719995 w 1448982"/>
              <a:gd name="connsiteY0" fmla="*/ 1119378 h 1507045"/>
              <a:gd name="connsiteX1" fmla="*/ 1331309 w 1448982"/>
              <a:gd name="connsiteY1" fmla="*/ 1119378 h 1507045"/>
              <a:gd name="connsiteX2" fmla="*/ 1404338 w 1448982"/>
              <a:gd name="connsiteY2" fmla="*/ 1135373 h 1507045"/>
              <a:gd name="connsiteX3" fmla="*/ 1448982 w 1448982"/>
              <a:gd name="connsiteY3" fmla="*/ 1165809 h 1507045"/>
              <a:gd name="connsiteX4" fmla="*/ 1448982 w 1448982"/>
              <a:gd name="connsiteY4" fmla="*/ 1459947 h 1507045"/>
              <a:gd name="connsiteX5" fmla="*/ 1406401 w 1448982"/>
              <a:gd name="connsiteY5" fmla="*/ 1490049 h 1507045"/>
              <a:gd name="connsiteX6" fmla="*/ 1331309 w 1448982"/>
              <a:gd name="connsiteY6" fmla="*/ 1506950 h 1507045"/>
              <a:gd name="connsiteX7" fmla="*/ 719995 w 1448982"/>
              <a:gd name="connsiteY7" fmla="*/ 1506950 h 1507045"/>
              <a:gd name="connsiteX8" fmla="*/ 526256 w 1448982"/>
              <a:gd name="connsiteY8" fmla="*/ 1313116 h 1507045"/>
              <a:gd name="connsiteX9" fmla="*/ 719995 w 1448982"/>
              <a:gd name="connsiteY9" fmla="*/ 1119378 h 1507045"/>
              <a:gd name="connsiteX10" fmla="*/ 193834 w 1448982"/>
              <a:gd name="connsiteY10" fmla="*/ 1119378 h 1507045"/>
              <a:gd name="connsiteX11" fmla="*/ 194024 w 1448982"/>
              <a:gd name="connsiteY11" fmla="*/ 1119378 h 1507045"/>
              <a:gd name="connsiteX12" fmla="*/ 387763 w 1448982"/>
              <a:gd name="connsiteY12" fmla="*/ 1313307 h 1507045"/>
              <a:gd name="connsiteX13" fmla="*/ 193834 w 1448982"/>
              <a:gd name="connsiteY13" fmla="*/ 1507045 h 1507045"/>
              <a:gd name="connsiteX14" fmla="*/ 95 w 1448982"/>
              <a:gd name="connsiteY14" fmla="*/ 1313116 h 1507045"/>
              <a:gd name="connsiteX15" fmla="*/ 193834 w 1448982"/>
              <a:gd name="connsiteY15" fmla="*/ 1119378 h 1507045"/>
              <a:gd name="connsiteX16" fmla="*/ 193929 w 1448982"/>
              <a:gd name="connsiteY16" fmla="*/ 559784 h 1507045"/>
              <a:gd name="connsiteX17" fmla="*/ 805149 w 1448982"/>
              <a:gd name="connsiteY17" fmla="*/ 559784 h 1507045"/>
              <a:gd name="connsiteX18" fmla="*/ 813740 w 1448982"/>
              <a:gd name="connsiteY18" fmla="*/ 559784 h 1507045"/>
              <a:gd name="connsiteX19" fmla="*/ 1003230 w 1448982"/>
              <a:gd name="connsiteY19" fmla="*/ 757866 h 1507045"/>
              <a:gd name="connsiteX20" fmla="*/ 805149 w 1448982"/>
              <a:gd name="connsiteY20" fmla="*/ 947356 h 1507045"/>
              <a:gd name="connsiteX21" fmla="*/ 193929 w 1448982"/>
              <a:gd name="connsiteY21" fmla="*/ 947356 h 1507045"/>
              <a:gd name="connsiteX22" fmla="*/ 95 w 1448982"/>
              <a:gd name="connsiteY22" fmla="*/ 753523 h 1507045"/>
              <a:gd name="connsiteX23" fmla="*/ 193929 w 1448982"/>
              <a:gd name="connsiteY23" fmla="*/ 559784 h 1507045"/>
              <a:gd name="connsiteX24" fmla="*/ 1331214 w 1448982"/>
              <a:gd name="connsiteY24" fmla="*/ 559689 h 1507045"/>
              <a:gd name="connsiteX25" fmla="*/ 1406663 w 1448982"/>
              <a:gd name="connsiteY25" fmla="*/ 574922 h 1507045"/>
              <a:gd name="connsiteX26" fmla="*/ 1448982 w 1448982"/>
              <a:gd name="connsiteY26" fmla="*/ 603454 h 1507045"/>
              <a:gd name="connsiteX27" fmla="*/ 1448982 w 1448982"/>
              <a:gd name="connsiteY27" fmla="*/ 903636 h 1507045"/>
              <a:gd name="connsiteX28" fmla="*/ 1406719 w 1448982"/>
              <a:gd name="connsiteY28" fmla="*/ 932131 h 1507045"/>
              <a:gd name="connsiteX29" fmla="*/ 1331309 w 1448982"/>
              <a:gd name="connsiteY29" fmla="*/ 947356 h 1507045"/>
              <a:gd name="connsiteX30" fmla="*/ 1331214 w 1448982"/>
              <a:gd name="connsiteY30" fmla="*/ 947356 h 1507045"/>
              <a:gd name="connsiteX31" fmla="*/ 1137381 w 1448982"/>
              <a:gd name="connsiteY31" fmla="*/ 753523 h 1507045"/>
              <a:gd name="connsiteX32" fmla="*/ 1331214 w 1448982"/>
              <a:gd name="connsiteY32" fmla="*/ 559689 h 1507045"/>
              <a:gd name="connsiteX33" fmla="*/ 719995 w 1448982"/>
              <a:gd name="connsiteY33" fmla="*/ 95 h 1507045"/>
              <a:gd name="connsiteX34" fmla="*/ 1331309 w 1448982"/>
              <a:gd name="connsiteY34" fmla="*/ 95 h 1507045"/>
              <a:gd name="connsiteX35" fmla="*/ 1406727 w 1448982"/>
              <a:gd name="connsiteY35" fmla="*/ 15357 h 1507045"/>
              <a:gd name="connsiteX36" fmla="*/ 1448982 w 1448982"/>
              <a:gd name="connsiteY36" fmla="*/ 43864 h 1507045"/>
              <a:gd name="connsiteX37" fmla="*/ 1448982 w 1448982"/>
              <a:gd name="connsiteY37" fmla="*/ 343951 h 1507045"/>
              <a:gd name="connsiteX38" fmla="*/ 1406719 w 1448982"/>
              <a:gd name="connsiteY38" fmla="*/ 372444 h 1507045"/>
              <a:gd name="connsiteX39" fmla="*/ 1331309 w 1448982"/>
              <a:gd name="connsiteY39" fmla="*/ 387668 h 1507045"/>
              <a:gd name="connsiteX40" fmla="*/ 719995 w 1448982"/>
              <a:gd name="connsiteY40" fmla="*/ 387668 h 1507045"/>
              <a:gd name="connsiteX41" fmla="*/ 530504 w 1448982"/>
              <a:gd name="connsiteY41" fmla="*/ 198177 h 1507045"/>
              <a:gd name="connsiteX42" fmla="*/ 719995 w 1448982"/>
              <a:gd name="connsiteY42" fmla="*/ 95 h 1507045"/>
              <a:gd name="connsiteX43" fmla="*/ 193929 w 1448982"/>
              <a:gd name="connsiteY43" fmla="*/ 0 h 1507045"/>
              <a:gd name="connsiteX44" fmla="*/ 387668 w 1448982"/>
              <a:gd name="connsiteY44" fmla="*/ 193929 h 1507045"/>
              <a:gd name="connsiteX45" fmla="*/ 193834 w 1448982"/>
              <a:gd name="connsiteY45" fmla="*/ 387668 h 1507045"/>
              <a:gd name="connsiteX46" fmla="*/ 193739 w 1448982"/>
              <a:gd name="connsiteY46" fmla="*/ 387668 h 1507045"/>
              <a:gd name="connsiteX47" fmla="*/ 0 w 1448982"/>
              <a:gd name="connsiteY47" fmla="*/ 193738 h 1507045"/>
              <a:gd name="connsiteX48" fmla="*/ 193929 w 1448982"/>
              <a:gd name="connsiteY48" fmla="*/ 0 h 150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48982" h="1507045">
                <a:moveTo>
                  <a:pt x="719995" y="1119378"/>
                </a:moveTo>
                <a:lnTo>
                  <a:pt x="1331309" y="1119378"/>
                </a:lnTo>
                <a:cubicBezTo>
                  <a:pt x="1357231" y="1119952"/>
                  <a:pt x="1381892" y="1125601"/>
                  <a:pt x="1404338" y="1135373"/>
                </a:cubicBezTo>
                <a:lnTo>
                  <a:pt x="1448982" y="1165809"/>
                </a:lnTo>
                <a:lnTo>
                  <a:pt x="1448982" y="1459947"/>
                </a:lnTo>
                <a:lnTo>
                  <a:pt x="1406401" y="1490049"/>
                </a:lnTo>
                <a:cubicBezTo>
                  <a:pt x="1383434" y="1500370"/>
                  <a:pt x="1358065" y="1506357"/>
                  <a:pt x="1331309" y="1506950"/>
                </a:cubicBezTo>
                <a:lnTo>
                  <a:pt x="719995" y="1506950"/>
                </a:lnTo>
                <a:cubicBezTo>
                  <a:pt x="612982" y="1506893"/>
                  <a:pt x="526256" y="1420130"/>
                  <a:pt x="526256" y="1313116"/>
                </a:cubicBezTo>
                <a:cubicBezTo>
                  <a:pt x="526256" y="1206112"/>
                  <a:pt x="613000" y="1119378"/>
                  <a:pt x="719995" y="1119378"/>
                </a:cubicBezTo>
                <a:close/>
                <a:moveTo>
                  <a:pt x="193834" y="1119378"/>
                </a:moveTo>
                <a:cubicBezTo>
                  <a:pt x="193900" y="1119378"/>
                  <a:pt x="193958" y="1119378"/>
                  <a:pt x="194024" y="1119378"/>
                </a:cubicBezTo>
                <a:cubicBezTo>
                  <a:pt x="301076" y="1119425"/>
                  <a:pt x="387820" y="1206255"/>
                  <a:pt x="387763" y="1313307"/>
                </a:cubicBezTo>
                <a:cubicBezTo>
                  <a:pt x="387715" y="1420358"/>
                  <a:pt x="300885" y="1507093"/>
                  <a:pt x="193834" y="1507045"/>
                </a:cubicBezTo>
                <a:cubicBezTo>
                  <a:pt x="86782" y="1506988"/>
                  <a:pt x="48" y="1420168"/>
                  <a:pt x="95" y="1313116"/>
                </a:cubicBezTo>
                <a:cubicBezTo>
                  <a:pt x="143" y="1206141"/>
                  <a:pt x="86859" y="1119425"/>
                  <a:pt x="193834" y="1119378"/>
                </a:cubicBezTo>
                <a:close/>
                <a:moveTo>
                  <a:pt x="193929" y="559784"/>
                </a:moveTo>
                <a:lnTo>
                  <a:pt x="805149" y="559784"/>
                </a:lnTo>
                <a:cubicBezTo>
                  <a:pt x="808015" y="559717"/>
                  <a:pt x="810882" y="559717"/>
                  <a:pt x="813740" y="559784"/>
                </a:cubicBezTo>
                <a:cubicBezTo>
                  <a:pt x="920763" y="562156"/>
                  <a:pt x="1005602" y="650843"/>
                  <a:pt x="1003230" y="757866"/>
                </a:cubicBezTo>
                <a:cubicBezTo>
                  <a:pt x="1000859" y="864889"/>
                  <a:pt x="912171" y="949728"/>
                  <a:pt x="805149" y="947356"/>
                </a:cubicBezTo>
                <a:lnTo>
                  <a:pt x="193929" y="947356"/>
                </a:lnTo>
                <a:cubicBezTo>
                  <a:pt x="86878" y="947356"/>
                  <a:pt x="95" y="860574"/>
                  <a:pt x="95" y="753523"/>
                </a:cubicBezTo>
                <a:cubicBezTo>
                  <a:pt x="143" y="646509"/>
                  <a:pt x="86916" y="559784"/>
                  <a:pt x="193929" y="559784"/>
                </a:cubicBezTo>
                <a:close/>
                <a:moveTo>
                  <a:pt x="1331214" y="559689"/>
                </a:moveTo>
                <a:cubicBezTo>
                  <a:pt x="1357977" y="559689"/>
                  <a:pt x="1383473" y="565113"/>
                  <a:pt x="1406663" y="574922"/>
                </a:cubicBezTo>
                <a:lnTo>
                  <a:pt x="1448982" y="603454"/>
                </a:lnTo>
                <a:lnTo>
                  <a:pt x="1448982" y="903636"/>
                </a:lnTo>
                <a:lnTo>
                  <a:pt x="1406719" y="932131"/>
                </a:lnTo>
                <a:cubicBezTo>
                  <a:pt x="1383541" y="941935"/>
                  <a:pt x="1358058" y="947356"/>
                  <a:pt x="1331309" y="947356"/>
                </a:cubicBezTo>
                <a:cubicBezTo>
                  <a:pt x="1331281" y="947356"/>
                  <a:pt x="1331243" y="947356"/>
                  <a:pt x="1331214" y="947356"/>
                </a:cubicBezTo>
                <a:cubicBezTo>
                  <a:pt x="1224163" y="947356"/>
                  <a:pt x="1137381" y="860574"/>
                  <a:pt x="1137381" y="753523"/>
                </a:cubicBezTo>
                <a:cubicBezTo>
                  <a:pt x="1137381" y="646471"/>
                  <a:pt x="1224163" y="559689"/>
                  <a:pt x="1331214" y="559689"/>
                </a:cubicBezTo>
                <a:close/>
                <a:moveTo>
                  <a:pt x="719995" y="95"/>
                </a:moveTo>
                <a:lnTo>
                  <a:pt x="1331309" y="95"/>
                </a:lnTo>
                <a:cubicBezTo>
                  <a:pt x="1358063" y="109"/>
                  <a:pt x="1383548" y="5543"/>
                  <a:pt x="1406727" y="15357"/>
                </a:cubicBezTo>
                <a:lnTo>
                  <a:pt x="1448982" y="43864"/>
                </a:lnTo>
                <a:lnTo>
                  <a:pt x="1448982" y="343951"/>
                </a:lnTo>
                <a:lnTo>
                  <a:pt x="1406719" y="372444"/>
                </a:lnTo>
                <a:cubicBezTo>
                  <a:pt x="1383541" y="382247"/>
                  <a:pt x="1358058" y="387668"/>
                  <a:pt x="1331309" y="387668"/>
                </a:cubicBezTo>
                <a:lnTo>
                  <a:pt x="719995" y="387668"/>
                </a:lnTo>
                <a:cubicBezTo>
                  <a:pt x="616306" y="385372"/>
                  <a:pt x="532800" y="301866"/>
                  <a:pt x="530504" y="198177"/>
                </a:cubicBezTo>
                <a:cubicBezTo>
                  <a:pt x="528133" y="91154"/>
                  <a:pt x="612972" y="2467"/>
                  <a:pt x="719995" y="95"/>
                </a:cubicBezTo>
                <a:close/>
                <a:moveTo>
                  <a:pt x="193929" y="0"/>
                </a:moveTo>
                <a:cubicBezTo>
                  <a:pt x="300980" y="57"/>
                  <a:pt x="387715" y="86877"/>
                  <a:pt x="387668" y="193929"/>
                </a:cubicBezTo>
                <a:cubicBezTo>
                  <a:pt x="387620" y="300942"/>
                  <a:pt x="300847" y="387668"/>
                  <a:pt x="193834" y="387668"/>
                </a:cubicBezTo>
                <a:cubicBezTo>
                  <a:pt x="193805" y="387668"/>
                  <a:pt x="193767" y="387668"/>
                  <a:pt x="193739" y="387668"/>
                </a:cubicBezTo>
                <a:cubicBezTo>
                  <a:pt x="86687" y="387620"/>
                  <a:pt x="-57" y="300790"/>
                  <a:pt x="0" y="193738"/>
                </a:cubicBezTo>
                <a:cubicBezTo>
                  <a:pt x="48" y="86687"/>
                  <a:pt x="86878" y="-48"/>
                  <a:pt x="193929" y="0"/>
                </a:cubicBezTo>
                <a:close/>
              </a:path>
            </a:pathLst>
          </a:custGeom>
          <a:solidFill>
            <a:srgbClr val="F0F0F0"/>
          </a:solidFill>
          <a:ln w="9525" cap="flat">
            <a:noFill/>
            <a:prstDash val="solid"/>
            <a:miter/>
          </a:ln>
        </p:spPr>
        <p:txBody>
          <a:bodyPr rtlCol="0" anchor="ctr"/>
          <a:lstStyle/>
          <a:p>
            <a:endParaRPr lang="en-GB"/>
          </a:p>
        </p:txBody>
      </p:sp>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5" y="393192"/>
            <a:ext cx="10980738" cy="548640"/>
          </a:xfrm>
        </p:spPr>
        <p:txBody>
          <a:bodyPr vert="horz"/>
          <a:lstStyle>
            <a:lvl1pPr>
              <a:defRPr>
                <a:solidFill>
                  <a:schemeClr val="accent1"/>
                </a:solidFill>
              </a:defRPr>
            </a:lvl1pPr>
          </a:lstStyle>
          <a:p>
            <a:r>
              <a:rPr lang="en-US"/>
              <a:t>H1 placeholder.</a:t>
            </a:r>
            <a:endParaRPr lang="en-GB"/>
          </a:p>
        </p:txBody>
      </p:sp>
      <p:sp>
        <p:nvSpPr>
          <p:cNvPr id="64" name="Text Placeholder 21">
            <a:extLst>
              <a:ext uri="{FF2B5EF4-FFF2-40B4-BE49-F238E27FC236}">
                <a16:creationId xmlns:a16="http://schemas.microsoft.com/office/drawing/2014/main" id="{2FFED78A-DFC8-4249-A315-C4F755B57D4F}"/>
              </a:ext>
            </a:extLst>
          </p:cNvPr>
          <p:cNvSpPr>
            <a:spLocks noGrp="1"/>
          </p:cNvSpPr>
          <p:nvPr>
            <p:ph type="body" sz="quarter" idx="41" hasCustomPrompt="1"/>
          </p:nvPr>
        </p:nvSpPr>
        <p:spPr>
          <a:xfrm>
            <a:off x="587374" y="1426464"/>
            <a:ext cx="9888601" cy="1048904"/>
          </a:xfrm>
        </p:spPr>
        <p:txBody>
          <a:bodyPr/>
          <a:lstStyle>
            <a:lvl1pPr marL="0" indent="0">
              <a:buFont typeface="Arial" panose="020B0604020202020204" pitchFamily="34" charset="0"/>
              <a:buChar char="​"/>
              <a:defRPr/>
            </a:lvl1pPr>
            <a:lvl2pPr>
              <a:buNone/>
              <a:defRPr/>
            </a:lvl2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pPr lvl="0"/>
            <a:endParaRPr lang="en-US"/>
          </a:p>
        </p:txBody>
      </p:sp>
      <p:sp>
        <p:nvSpPr>
          <p:cNvPr id="77" name="Text Placeholder 48">
            <a:extLst>
              <a:ext uri="{FF2B5EF4-FFF2-40B4-BE49-F238E27FC236}">
                <a16:creationId xmlns:a16="http://schemas.microsoft.com/office/drawing/2014/main" id="{9A50676A-AA83-46CD-993F-E120F6A35499}"/>
              </a:ext>
            </a:extLst>
          </p:cNvPr>
          <p:cNvSpPr>
            <a:spLocks noGrp="1"/>
          </p:cNvSpPr>
          <p:nvPr>
            <p:ph type="body" sz="quarter" idx="42" hasCustomPrompt="1"/>
          </p:nvPr>
        </p:nvSpPr>
        <p:spPr>
          <a:xfrm>
            <a:off x="587375" y="2567313"/>
            <a:ext cx="2374438" cy="3230563"/>
          </a:xfrm>
          <a:solidFill>
            <a:schemeClr val="accent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79" name="Text Placeholder 52">
            <a:extLst>
              <a:ext uri="{FF2B5EF4-FFF2-40B4-BE49-F238E27FC236}">
                <a16:creationId xmlns:a16="http://schemas.microsoft.com/office/drawing/2014/main" id="{9145594D-1656-4931-8C10-2201D70342ED}"/>
              </a:ext>
            </a:extLst>
          </p:cNvPr>
          <p:cNvSpPr>
            <a:spLocks noGrp="1"/>
          </p:cNvSpPr>
          <p:nvPr>
            <p:ph type="body" sz="quarter" idx="44" hasCustomPrompt="1"/>
          </p:nvPr>
        </p:nvSpPr>
        <p:spPr>
          <a:xfrm>
            <a:off x="736878" y="3290911"/>
            <a:ext cx="2061906" cy="472283"/>
          </a:xfrm>
        </p:spPr>
        <p:txBody>
          <a:bodyPr lIns="36000" rIns="36000">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80" name="Text Placeholder 54">
            <a:extLst>
              <a:ext uri="{FF2B5EF4-FFF2-40B4-BE49-F238E27FC236}">
                <a16:creationId xmlns:a16="http://schemas.microsoft.com/office/drawing/2014/main" id="{553C7A6B-694C-4230-A9B4-2F8446026AAA}"/>
              </a:ext>
            </a:extLst>
          </p:cNvPr>
          <p:cNvSpPr>
            <a:spLocks noGrp="1"/>
          </p:cNvSpPr>
          <p:nvPr>
            <p:ph type="body" sz="quarter" idx="45" hasCustomPrompt="1"/>
          </p:nvPr>
        </p:nvSpPr>
        <p:spPr>
          <a:xfrm>
            <a:off x="736878" y="3772358"/>
            <a:ext cx="2061906" cy="1888546"/>
          </a:xfrm>
        </p:spPr>
        <p:txBody>
          <a:bodyPr lIns="36000" rIns="36000">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pPr lvl="0"/>
            <a:endParaRPr lang="en-US"/>
          </a:p>
        </p:txBody>
      </p:sp>
      <p:sp>
        <p:nvSpPr>
          <p:cNvPr id="90" name="Text Placeholder 50">
            <a:extLst>
              <a:ext uri="{FF2B5EF4-FFF2-40B4-BE49-F238E27FC236}">
                <a16:creationId xmlns:a16="http://schemas.microsoft.com/office/drawing/2014/main" id="{8520C199-53B2-4514-9CF3-C278247C5DDA}"/>
              </a:ext>
            </a:extLst>
          </p:cNvPr>
          <p:cNvSpPr>
            <a:spLocks noGrp="1"/>
          </p:cNvSpPr>
          <p:nvPr>
            <p:ph type="body" sz="quarter" idx="47" hasCustomPrompt="1"/>
          </p:nvPr>
        </p:nvSpPr>
        <p:spPr>
          <a:xfrm>
            <a:off x="736878" y="2731545"/>
            <a:ext cx="581747" cy="320088"/>
          </a:xfrm>
        </p:spPr>
        <p:txBody>
          <a:bodyPr lIns="36000" rIns="36000"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a:t>
            </a:r>
          </a:p>
        </p:txBody>
      </p:sp>
      <p:sp>
        <p:nvSpPr>
          <p:cNvPr id="102" name="Text Placeholder 48">
            <a:extLst>
              <a:ext uri="{FF2B5EF4-FFF2-40B4-BE49-F238E27FC236}">
                <a16:creationId xmlns:a16="http://schemas.microsoft.com/office/drawing/2014/main" id="{A53B4959-7385-4A69-BCA2-93AB2815F66B}"/>
              </a:ext>
            </a:extLst>
          </p:cNvPr>
          <p:cNvSpPr>
            <a:spLocks noGrp="1"/>
          </p:cNvSpPr>
          <p:nvPr>
            <p:ph type="body" sz="quarter" idx="49" hasCustomPrompt="1"/>
          </p:nvPr>
        </p:nvSpPr>
        <p:spPr>
          <a:xfrm>
            <a:off x="9193675" y="2567313"/>
            <a:ext cx="2374438" cy="3230563"/>
          </a:xfrm>
          <a:solidFill>
            <a:schemeClr val="accent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103" name="Text Placeholder 52">
            <a:extLst>
              <a:ext uri="{FF2B5EF4-FFF2-40B4-BE49-F238E27FC236}">
                <a16:creationId xmlns:a16="http://schemas.microsoft.com/office/drawing/2014/main" id="{1010AE40-A5D4-48CB-B2BD-A6ACC55CBBE8}"/>
              </a:ext>
            </a:extLst>
          </p:cNvPr>
          <p:cNvSpPr>
            <a:spLocks noGrp="1"/>
          </p:cNvSpPr>
          <p:nvPr>
            <p:ph type="body" sz="quarter" idx="50" hasCustomPrompt="1"/>
          </p:nvPr>
        </p:nvSpPr>
        <p:spPr>
          <a:xfrm>
            <a:off x="9349941" y="3290911"/>
            <a:ext cx="2061906" cy="472283"/>
          </a:xfrm>
        </p:spPr>
        <p:txBody>
          <a:bodyPr lIns="36000" rIns="36000">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104" name="Text Placeholder 54">
            <a:extLst>
              <a:ext uri="{FF2B5EF4-FFF2-40B4-BE49-F238E27FC236}">
                <a16:creationId xmlns:a16="http://schemas.microsoft.com/office/drawing/2014/main" id="{F7FF6FA2-6005-4DCF-9C1C-8D2891420734}"/>
              </a:ext>
            </a:extLst>
          </p:cNvPr>
          <p:cNvSpPr>
            <a:spLocks noGrp="1"/>
          </p:cNvSpPr>
          <p:nvPr>
            <p:ph type="body" sz="quarter" idx="51" hasCustomPrompt="1"/>
          </p:nvPr>
        </p:nvSpPr>
        <p:spPr>
          <a:xfrm>
            <a:off x="9349941" y="3772358"/>
            <a:ext cx="2061906" cy="1888546"/>
          </a:xfrm>
        </p:spPr>
        <p:txBody>
          <a:bodyPr lIns="36000" rIns="36000">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pPr lvl="0"/>
            <a:endParaRPr lang="en-US"/>
          </a:p>
        </p:txBody>
      </p:sp>
      <p:sp>
        <p:nvSpPr>
          <p:cNvPr id="105" name="Text Placeholder 50">
            <a:extLst>
              <a:ext uri="{FF2B5EF4-FFF2-40B4-BE49-F238E27FC236}">
                <a16:creationId xmlns:a16="http://schemas.microsoft.com/office/drawing/2014/main" id="{067B9AC0-8BD9-4C6B-9513-DDF58D9BCD63}"/>
              </a:ext>
            </a:extLst>
          </p:cNvPr>
          <p:cNvSpPr>
            <a:spLocks noGrp="1"/>
          </p:cNvSpPr>
          <p:nvPr>
            <p:ph type="body" sz="quarter" idx="52" hasCustomPrompt="1"/>
          </p:nvPr>
        </p:nvSpPr>
        <p:spPr>
          <a:xfrm>
            <a:off x="9349941" y="2731545"/>
            <a:ext cx="581747" cy="320088"/>
          </a:xfrm>
        </p:spPr>
        <p:txBody>
          <a:bodyPr lIns="36000" rIns="36000"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a:t>
            </a:r>
          </a:p>
        </p:txBody>
      </p:sp>
      <p:sp>
        <p:nvSpPr>
          <p:cNvPr id="107" name="Text Placeholder 48">
            <a:extLst>
              <a:ext uri="{FF2B5EF4-FFF2-40B4-BE49-F238E27FC236}">
                <a16:creationId xmlns:a16="http://schemas.microsoft.com/office/drawing/2014/main" id="{59CD77CD-6E19-48C1-8E0D-C52AF952D26F}"/>
              </a:ext>
            </a:extLst>
          </p:cNvPr>
          <p:cNvSpPr>
            <a:spLocks noGrp="1"/>
          </p:cNvSpPr>
          <p:nvPr>
            <p:ph type="body" sz="quarter" idx="54" hasCustomPrompt="1"/>
          </p:nvPr>
        </p:nvSpPr>
        <p:spPr>
          <a:xfrm>
            <a:off x="6324909" y="2567313"/>
            <a:ext cx="2374438" cy="3230563"/>
          </a:xfrm>
          <a:solidFill>
            <a:schemeClr val="accent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108" name="Text Placeholder 52">
            <a:extLst>
              <a:ext uri="{FF2B5EF4-FFF2-40B4-BE49-F238E27FC236}">
                <a16:creationId xmlns:a16="http://schemas.microsoft.com/office/drawing/2014/main" id="{3BE07E0F-F140-4B4F-8054-D7A5588523C3}"/>
              </a:ext>
            </a:extLst>
          </p:cNvPr>
          <p:cNvSpPr>
            <a:spLocks noGrp="1"/>
          </p:cNvSpPr>
          <p:nvPr>
            <p:ph type="body" sz="quarter" idx="55" hasCustomPrompt="1"/>
          </p:nvPr>
        </p:nvSpPr>
        <p:spPr>
          <a:xfrm>
            <a:off x="6481175" y="3290911"/>
            <a:ext cx="2061906" cy="472283"/>
          </a:xfrm>
        </p:spPr>
        <p:txBody>
          <a:bodyPr lIns="36000" rIns="36000">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109" name="Text Placeholder 54">
            <a:extLst>
              <a:ext uri="{FF2B5EF4-FFF2-40B4-BE49-F238E27FC236}">
                <a16:creationId xmlns:a16="http://schemas.microsoft.com/office/drawing/2014/main" id="{CD867CF6-751F-4DC8-8B6C-8A0A17EA047D}"/>
              </a:ext>
            </a:extLst>
          </p:cNvPr>
          <p:cNvSpPr>
            <a:spLocks noGrp="1"/>
          </p:cNvSpPr>
          <p:nvPr>
            <p:ph type="body" sz="quarter" idx="56" hasCustomPrompt="1"/>
          </p:nvPr>
        </p:nvSpPr>
        <p:spPr>
          <a:xfrm>
            <a:off x="6481175" y="3772358"/>
            <a:ext cx="2061906" cy="1888546"/>
          </a:xfrm>
        </p:spPr>
        <p:txBody>
          <a:bodyPr lIns="36000" rIns="36000">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pPr lvl="0"/>
            <a:endParaRPr lang="en-US"/>
          </a:p>
        </p:txBody>
      </p:sp>
      <p:sp>
        <p:nvSpPr>
          <p:cNvPr id="110" name="Text Placeholder 50">
            <a:extLst>
              <a:ext uri="{FF2B5EF4-FFF2-40B4-BE49-F238E27FC236}">
                <a16:creationId xmlns:a16="http://schemas.microsoft.com/office/drawing/2014/main" id="{E0485650-3795-4A5A-B6EF-0F11A66AD83E}"/>
              </a:ext>
            </a:extLst>
          </p:cNvPr>
          <p:cNvSpPr>
            <a:spLocks noGrp="1"/>
          </p:cNvSpPr>
          <p:nvPr>
            <p:ph type="body" sz="quarter" idx="57" hasCustomPrompt="1"/>
          </p:nvPr>
        </p:nvSpPr>
        <p:spPr>
          <a:xfrm>
            <a:off x="6481175" y="2731545"/>
            <a:ext cx="581747" cy="320088"/>
          </a:xfrm>
        </p:spPr>
        <p:txBody>
          <a:bodyPr lIns="36000" rIns="36000"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a:t>
            </a:r>
          </a:p>
        </p:txBody>
      </p:sp>
      <p:sp>
        <p:nvSpPr>
          <p:cNvPr id="112" name="Text Placeholder 48">
            <a:extLst>
              <a:ext uri="{FF2B5EF4-FFF2-40B4-BE49-F238E27FC236}">
                <a16:creationId xmlns:a16="http://schemas.microsoft.com/office/drawing/2014/main" id="{B1C71168-A8C2-46BC-862A-E6FF8820F84C}"/>
              </a:ext>
            </a:extLst>
          </p:cNvPr>
          <p:cNvSpPr>
            <a:spLocks noGrp="1"/>
          </p:cNvSpPr>
          <p:nvPr>
            <p:ph type="body" sz="quarter" idx="59" hasCustomPrompt="1"/>
          </p:nvPr>
        </p:nvSpPr>
        <p:spPr>
          <a:xfrm>
            <a:off x="3456142" y="2567313"/>
            <a:ext cx="2374438" cy="3230563"/>
          </a:xfrm>
          <a:solidFill>
            <a:schemeClr val="accent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113" name="Text Placeholder 52">
            <a:extLst>
              <a:ext uri="{FF2B5EF4-FFF2-40B4-BE49-F238E27FC236}">
                <a16:creationId xmlns:a16="http://schemas.microsoft.com/office/drawing/2014/main" id="{A5D321D1-93B5-42D5-B16C-4FBBD72CC338}"/>
              </a:ext>
            </a:extLst>
          </p:cNvPr>
          <p:cNvSpPr>
            <a:spLocks noGrp="1"/>
          </p:cNvSpPr>
          <p:nvPr>
            <p:ph type="body" sz="quarter" idx="60" hasCustomPrompt="1"/>
          </p:nvPr>
        </p:nvSpPr>
        <p:spPr>
          <a:xfrm>
            <a:off x="3612408" y="3290911"/>
            <a:ext cx="2061906" cy="472283"/>
          </a:xfrm>
        </p:spPr>
        <p:txBody>
          <a:bodyPr lIns="36000" rIns="36000">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114" name="Text Placeholder 54">
            <a:extLst>
              <a:ext uri="{FF2B5EF4-FFF2-40B4-BE49-F238E27FC236}">
                <a16:creationId xmlns:a16="http://schemas.microsoft.com/office/drawing/2014/main" id="{56DB72A9-8797-4B56-9A03-F7C85EB5E745}"/>
              </a:ext>
            </a:extLst>
          </p:cNvPr>
          <p:cNvSpPr>
            <a:spLocks noGrp="1"/>
          </p:cNvSpPr>
          <p:nvPr>
            <p:ph type="body" sz="quarter" idx="61" hasCustomPrompt="1"/>
          </p:nvPr>
        </p:nvSpPr>
        <p:spPr>
          <a:xfrm>
            <a:off x="3612408" y="3772358"/>
            <a:ext cx="2061906" cy="1888546"/>
          </a:xfrm>
        </p:spPr>
        <p:txBody>
          <a:bodyPr lIns="36000" rIns="36000">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pPr lvl="0"/>
            <a:endParaRPr lang="en-US"/>
          </a:p>
        </p:txBody>
      </p:sp>
      <p:sp>
        <p:nvSpPr>
          <p:cNvPr id="115" name="Text Placeholder 50">
            <a:extLst>
              <a:ext uri="{FF2B5EF4-FFF2-40B4-BE49-F238E27FC236}">
                <a16:creationId xmlns:a16="http://schemas.microsoft.com/office/drawing/2014/main" id="{734C4E96-EBFA-4560-82FF-DB1CB6232A0D}"/>
              </a:ext>
            </a:extLst>
          </p:cNvPr>
          <p:cNvSpPr>
            <a:spLocks noGrp="1"/>
          </p:cNvSpPr>
          <p:nvPr>
            <p:ph type="body" sz="quarter" idx="62" hasCustomPrompt="1"/>
          </p:nvPr>
        </p:nvSpPr>
        <p:spPr>
          <a:xfrm>
            <a:off x="3612408" y="2731545"/>
            <a:ext cx="581747" cy="320088"/>
          </a:xfrm>
        </p:spPr>
        <p:txBody>
          <a:bodyPr lIns="36000" rIns="36000"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a:t>
            </a:r>
          </a:p>
        </p:txBody>
      </p:sp>
    </p:spTree>
    <p:custDataLst>
      <p:tags r:id="rId1"/>
    </p:custDataLst>
    <p:extLst>
      <p:ext uri="{BB962C8B-B14F-4D97-AF65-F5344CB8AC3E}">
        <p14:creationId xmlns:p14="http://schemas.microsoft.com/office/powerpoint/2010/main" val="2444775650"/>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 Card White with Icon Placeholder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BE5889-EF70-4D0C-A9F0-EDFF533D477A}"/>
              </a:ext>
            </a:extLst>
          </p:cNvPr>
          <p:cNvGraphicFramePr>
            <a:graphicFrameLocks noChangeAspect="1"/>
          </p:cNvGraphicFramePr>
          <p:nvPr userDrawn="1">
            <p:custDataLst>
              <p:tags r:id="rId2"/>
            </p:custDataLst>
            <p:extLst>
              <p:ext uri="{D42A27DB-BD31-4B8C-83A1-F6EECF244321}">
                <p14:modId xmlns:p14="http://schemas.microsoft.com/office/powerpoint/2010/main" val="3809373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75BE5889-EF70-4D0C-A9F0-EDFF533D47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Freeform: Shape 29">
            <a:extLst>
              <a:ext uri="{FF2B5EF4-FFF2-40B4-BE49-F238E27FC236}">
                <a16:creationId xmlns:a16="http://schemas.microsoft.com/office/drawing/2014/main" id="{B8882182-E9AF-4F43-8965-F8083F60F3CE}"/>
              </a:ext>
            </a:extLst>
          </p:cNvPr>
          <p:cNvSpPr>
            <a:spLocks noChangeAspect="1"/>
          </p:cNvSpPr>
          <p:nvPr userDrawn="1"/>
        </p:nvSpPr>
        <p:spPr>
          <a:xfrm>
            <a:off x="10475976" y="1431636"/>
            <a:ext cx="1716024" cy="1784788"/>
          </a:xfrm>
          <a:custGeom>
            <a:avLst/>
            <a:gdLst>
              <a:gd name="connsiteX0" fmla="*/ 719995 w 1448982"/>
              <a:gd name="connsiteY0" fmla="*/ 1119378 h 1507045"/>
              <a:gd name="connsiteX1" fmla="*/ 1331309 w 1448982"/>
              <a:gd name="connsiteY1" fmla="*/ 1119378 h 1507045"/>
              <a:gd name="connsiteX2" fmla="*/ 1404338 w 1448982"/>
              <a:gd name="connsiteY2" fmla="*/ 1135373 h 1507045"/>
              <a:gd name="connsiteX3" fmla="*/ 1448982 w 1448982"/>
              <a:gd name="connsiteY3" fmla="*/ 1165809 h 1507045"/>
              <a:gd name="connsiteX4" fmla="*/ 1448982 w 1448982"/>
              <a:gd name="connsiteY4" fmla="*/ 1459947 h 1507045"/>
              <a:gd name="connsiteX5" fmla="*/ 1406401 w 1448982"/>
              <a:gd name="connsiteY5" fmla="*/ 1490049 h 1507045"/>
              <a:gd name="connsiteX6" fmla="*/ 1331309 w 1448982"/>
              <a:gd name="connsiteY6" fmla="*/ 1506950 h 1507045"/>
              <a:gd name="connsiteX7" fmla="*/ 719995 w 1448982"/>
              <a:gd name="connsiteY7" fmla="*/ 1506950 h 1507045"/>
              <a:gd name="connsiteX8" fmla="*/ 526256 w 1448982"/>
              <a:gd name="connsiteY8" fmla="*/ 1313116 h 1507045"/>
              <a:gd name="connsiteX9" fmla="*/ 719995 w 1448982"/>
              <a:gd name="connsiteY9" fmla="*/ 1119378 h 1507045"/>
              <a:gd name="connsiteX10" fmla="*/ 193834 w 1448982"/>
              <a:gd name="connsiteY10" fmla="*/ 1119378 h 1507045"/>
              <a:gd name="connsiteX11" fmla="*/ 194024 w 1448982"/>
              <a:gd name="connsiteY11" fmla="*/ 1119378 h 1507045"/>
              <a:gd name="connsiteX12" fmla="*/ 387763 w 1448982"/>
              <a:gd name="connsiteY12" fmla="*/ 1313307 h 1507045"/>
              <a:gd name="connsiteX13" fmla="*/ 193834 w 1448982"/>
              <a:gd name="connsiteY13" fmla="*/ 1507045 h 1507045"/>
              <a:gd name="connsiteX14" fmla="*/ 95 w 1448982"/>
              <a:gd name="connsiteY14" fmla="*/ 1313116 h 1507045"/>
              <a:gd name="connsiteX15" fmla="*/ 193834 w 1448982"/>
              <a:gd name="connsiteY15" fmla="*/ 1119378 h 1507045"/>
              <a:gd name="connsiteX16" fmla="*/ 193929 w 1448982"/>
              <a:gd name="connsiteY16" fmla="*/ 559784 h 1507045"/>
              <a:gd name="connsiteX17" fmla="*/ 805149 w 1448982"/>
              <a:gd name="connsiteY17" fmla="*/ 559784 h 1507045"/>
              <a:gd name="connsiteX18" fmla="*/ 813740 w 1448982"/>
              <a:gd name="connsiteY18" fmla="*/ 559784 h 1507045"/>
              <a:gd name="connsiteX19" fmla="*/ 1003230 w 1448982"/>
              <a:gd name="connsiteY19" fmla="*/ 757866 h 1507045"/>
              <a:gd name="connsiteX20" fmla="*/ 805149 w 1448982"/>
              <a:gd name="connsiteY20" fmla="*/ 947356 h 1507045"/>
              <a:gd name="connsiteX21" fmla="*/ 193929 w 1448982"/>
              <a:gd name="connsiteY21" fmla="*/ 947356 h 1507045"/>
              <a:gd name="connsiteX22" fmla="*/ 95 w 1448982"/>
              <a:gd name="connsiteY22" fmla="*/ 753523 h 1507045"/>
              <a:gd name="connsiteX23" fmla="*/ 193929 w 1448982"/>
              <a:gd name="connsiteY23" fmla="*/ 559784 h 1507045"/>
              <a:gd name="connsiteX24" fmla="*/ 1331214 w 1448982"/>
              <a:gd name="connsiteY24" fmla="*/ 559689 h 1507045"/>
              <a:gd name="connsiteX25" fmla="*/ 1406663 w 1448982"/>
              <a:gd name="connsiteY25" fmla="*/ 574922 h 1507045"/>
              <a:gd name="connsiteX26" fmla="*/ 1448982 w 1448982"/>
              <a:gd name="connsiteY26" fmla="*/ 603454 h 1507045"/>
              <a:gd name="connsiteX27" fmla="*/ 1448982 w 1448982"/>
              <a:gd name="connsiteY27" fmla="*/ 903636 h 1507045"/>
              <a:gd name="connsiteX28" fmla="*/ 1406719 w 1448982"/>
              <a:gd name="connsiteY28" fmla="*/ 932131 h 1507045"/>
              <a:gd name="connsiteX29" fmla="*/ 1331309 w 1448982"/>
              <a:gd name="connsiteY29" fmla="*/ 947356 h 1507045"/>
              <a:gd name="connsiteX30" fmla="*/ 1331214 w 1448982"/>
              <a:gd name="connsiteY30" fmla="*/ 947356 h 1507045"/>
              <a:gd name="connsiteX31" fmla="*/ 1137381 w 1448982"/>
              <a:gd name="connsiteY31" fmla="*/ 753523 h 1507045"/>
              <a:gd name="connsiteX32" fmla="*/ 1331214 w 1448982"/>
              <a:gd name="connsiteY32" fmla="*/ 559689 h 1507045"/>
              <a:gd name="connsiteX33" fmla="*/ 719995 w 1448982"/>
              <a:gd name="connsiteY33" fmla="*/ 95 h 1507045"/>
              <a:gd name="connsiteX34" fmla="*/ 1331309 w 1448982"/>
              <a:gd name="connsiteY34" fmla="*/ 95 h 1507045"/>
              <a:gd name="connsiteX35" fmla="*/ 1406727 w 1448982"/>
              <a:gd name="connsiteY35" fmla="*/ 15357 h 1507045"/>
              <a:gd name="connsiteX36" fmla="*/ 1448982 w 1448982"/>
              <a:gd name="connsiteY36" fmla="*/ 43864 h 1507045"/>
              <a:gd name="connsiteX37" fmla="*/ 1448982 w 1448982"/>
              <a:gd name="connsiteY37" fmla="*/ 343951 h 1507045"/>
              <a:gd name="connsiteX38" fmla="*/ 1406719 w 1448982"/>
              <a:gd name="connsiteY38" fmla="*/ 372444 h 1507045"/>
              <a:gd name="connsiteX39" fmla="*/ 1331309 w 1448982"/>
              <a:gd name="connsiteY39" fmla="*/ 387668 h 1507045"/>
              <a:gd name="connsiteX40" fmla="*/ 719995 w 1448982"/>
              <a:gd name="connsiteY40" fmla="*/ 387668 h 1507045"/>
              <a:gd name="connsiteX41" fmla="*/ 530504 w 1448982"/>
              <a:gd name="connsiteY41" fmla="*/ 198177 h 1507045"/>
              <a:gd name="connsiteX42" fmla="*/ 719995 w 1448982"/>
              <a:gd name="connsiteY42" fmla="*/ 95 h 1507045"/>
              <a:gd name="connsiteX43" fmla="*/ 193929 w 1448982"/>
              <a:gd name="connsiteY43" fmla="*/ 0 h 1507045"/>
              <a:gd name="connsiteX44" fmla="*/ 387668 w 1448982"/>
              <a:gd name="connsiteY44" fmla="*/ 193929 h 1507045"/>
              <a:gd name="connsiteX45" fmla="*/ 193834 w 1448982"/>
              <a:gd name="connsiteY45" fmla="*/ 387668 h 1507045"/>
              <a:gd name="connsiteX46" fmla="*/ 193739 w 1448982"/>
              <a:gd name="connsiteY46" fmla="*/ 387668 h 1507045"/>
              <a:gd name="connsiteX47" fmla="*/ 0 w 1448982"/>
              <a:gd name="connsiteY47" fmla="*/ 193738 h 1507045"/>
              <a:gd name="connsiteX48" fmla="*/ 193929 w 1448982"/>
              <a:gd name="connsiteY48" fmla="*/ 0 h 150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48982" h="1507045">
                <a:moveTo>
                  <a:pt x="719995" y="1119378"/>
                </a:moveTo>
                <a:lnTo>
                  <a:pt x="1331309" y="1119378"/>
                </a:lnTo>
                <a:cubicBezTo>
                  <a:pt x="1357231" y="1119952"/>
                  <a:pt x="1381892" y="1125601"/>
                  <a:pt x="1404338" y="1135373"/>
                </a:cubicBezTo>
                <a:lnTo>
                  <a:pt x="1448982" y="1165809"/>
                </a:lnTo>
                <a:lnTo>
                  <a:pt x="1448982" y="1459947"/>
                </a:lnTo>
                <a:lnTo>
                  <a:pt x="1406401" y="1490049"/>
                </a:lnTo>
                <a:cubicBezTo>
                  <a:pt x="1383434" y="1500370"/>
                  <a:pt x="1358065" y="1506357"/>
                  <a:pt x="1331309" y="1506950"/>
                </a:cubicBezTo>
                <a:lnTo>
                  <a:pt x="719995" y="1506950"/>
                </a:lnTo>
                <a:cubicBezTo>
                  <a:pt x="612982" y="1506893"/>
                  <a:pt x="526256" y="1420130"/>
                  <a:pt x="526256" y="1313116"/>
                </a:cubicBezTo>
                <a:cubicBezTo>
                  <a:pt x="526256" y="1206112"/>
                  <a:pt x="613000" y="1119378"/>
                  <a:pt x="719995" y="1119378"/>
                </a:cubicBezTo>
                <a:close/>
                <a:moveTo>
                  <a:pt x="193834" y="1119378"/>
                </a:moveTo>
                <a:cubicBezTo>
                  <a:pt x="193900" y="1119378"/>
                  <a:pt x="193958" y="1119378"/>
                  <a:pt x="194024" y="1119378"/>
                </a:cubicBezTo>
                <a:cubicBezTo>
                  <a:pt x="301076" y="1119425"/>
                  <a:pt x="387820" y="1206255"/>
                  <a:pt x="387763" y="1313307"/>
                </a:cubicBezTo>
                <a:cubicBezTo>
                  <a:pt x="387715" y="1420358"/>
                  <a:pt x="300885" y="1507093"/>
                  <a:pt x="193834" y="1507045"/>
                </a:cubicBezTo>
                <a:cubicBezTo>
                  <a:pt x="86782" y="1506988"/>
                  <a:pt x="48" y="1420168"/>
                  <a:pt x="95" y="1313116"/>
                </a:cubicBezTo>
                <a:cubicBezTo>
                  <a:pt x="143" y="1206141"/>
                  <a:pt x="86859" y="1119425"/>
                  <a:pt x="193834" y="1119378"/>
                </a:cubicBezTo>
                <a:close/>
                <a:moveTo>
                  <a:pt x="193929" y="559784"/>
                </a:moveTo>
                <a:lnTo>
                  <a:pt x="805149" y="559784"/>
                </a:lnTo>
                <a:cubicBezTo>
                  <a:pt x="808015" y="559717"/>
                  <a:pt x="810882" y="559717"/>
                  <a:pt x="813740" y="559784"/>
                </a:cubicBezTo>
                <a:cubicBezTo>
                  <a:pt x="920763" y="562156"/>
                  <a:pt x="1005602" y="650843"/>
                  <a:pt x="1003230" y="757866"/>
                </a:cubicBezTo>
                <a:cubicBezTo>
                  <a:pt x="1000859" y="864889"/>
                  <a:pt x="912171" y="949728"/>
                  <a:pt x="805149" y="947356"/>
                </a:cubicBezTo>
                <a:lnTo>
                  <a:pt x="193929" y="947356"/>
                </a:lnTo>
                <a:cubicBezTo>
                  <a:pt x="86878" y="947356"/>
                  <a:pt x="95" y="860574"/>
                  <a:pt x="95" y="753523"/>
                </a:cubicBezTo>
                <a:cubicBezTo>
                  <a:pt x="143" y="646509"/>
                  <a:pt x="86916" y="559784"/>
                  <a:pt x="193929" y="559784"/>
                </a:cubicBezTo>
                <a:close/>
                <a:moveTo>
                  <a:pt x="1331214" y="559689"/>
                </a:moveTo>
                <a:cubicBezTo>
                  <a:pt x="1357977" y="559689"/>
                  <a:pt x="1383473" y="565113"/>
                  <a:pt x="1406663" y="574922"/>
                </a:cubicBezTo>
                <a:lnTo>
                  <a:pt x="1448982" y="603454"/>
                </a:lnTo>
                <a:lnTo>
                  <a:pt x="1448982" y="903636"/>
                </a:lnTo>
                <a:lnTo>
                  <a:pt x="1406719" y="932131"/>
                </a:lnTo>
                <a:cubicBezTo>
                  <a:pt x="1383541" y="941935"/>
                  <a:pt x="1358058" y="947356"/>
                  <a:pt x="1331309" y="947356"/>
                </a:cubicBezTo>
                <a:cubicBezTo>
                  <a:pt x="1331281" y="947356"/>
                  <a:pt x="1331243" y="947356"/>
                  <a:pt x="1331214" y="947356"/>
                </a:cubicBezTo>
                <a:cubicBezTo>
                  <a:pt x="1224163" y="947356"/>
                  <a:pt x="1137381" y="860574"/>
                  <a:pt x="1137381" y="753523"/>
                </a:cubicBezTo>
                <a:cubicBezTo>
                  <a:pt x="1137381" y="646471"/>
                  <a:pt x="1224163" y="559689"/>
                  <a:pt x="1331214" y="559689"/>
                </a:cubicBezTo>
                <a:close/>
                <a:moveTo>
                  <a:pt x="719995" y="95"/>
                </a:moveTo>
                <a:lnTo>
                  <a:pt x="1331309" y="95"/>
                </a:lnTo>
                <a:cubicBezTo>
                  <a:pt x="1358063" y="109"/>
                  <a:pt x="1383548" y="5543"/>
                  <a:pt x="1406727" y="15357"/>
                </a:cubicBezTo>
                <a:lnTo>
                  <a:pt x="1448982" y="43864"/>
                </a:lnTo>
                <a:lnTo>
                  <a:pt x="1448982" y="343951"/>
                </a:lnTo>
                <a:lnTo>
                  <a:pt x="1406719" y="372444"/>
                </a:lnTo>
                <a:cubicBezTo>
                  <a:pt x="1383541" y="382247"/>
                  <a:pt x="1358058" y="387668"/>
                  <a:pt x="1331309" y="387668"/>
                </a:cubicBezTo>
                <a:lnTo>
                  <a:pt x="719995" y="387668"/>
                </a:lnTo>
                <a:cubicBezTo>
                  <a:pt x="616306" y="385372"/>
                  <a:pt x="532800" y="301866"/>
                  <a:pt x="530504" y="198177"/>
                </a:cubicBezTo>
                <a:cubicBezTo>
                  <a:pt x="528133" y="91154"/>
                  <a:pt x="612972" y="2467"/>
                  <a:pt x="719995" y="95"/>
                </a:cubicBezTo>
                <a:close/>
                <a:moveTo>
                  <a:pt x="193929" y="0"/>
                </a:moveTo>
                <a:cubicBezTo>
                  <a:pt x="300980" y="57"/>
                  <a:pt x="387715" y="86877"/>
                  <a:pt x="387668" y="193929"/>
                </a:cubicBezTo>
                <a:cubicBezTo>
                  <a:pt x="387620" y="300942"/>
                  <a:pt x="300847" y="387668"/>
                  <a:pt x="193834" y="387668"/>
                </a:cubicBezTo>
                <a:cubicBezTo>
                  <a:pt x="193805" y="387668"/>
                  <a:pt x="193767" y="387668"/>
                  <a:pt x="193739" y="387668"/>
                </a:cubicBezTo>
                <a:cubicBezTo>
                  <a:pt x="86687" y="387620"/>
                  <a:pt x="-57" y="300790"/>
                  <a:pt x="0" y="193738"/>
                </a:cubicBezTo>
                <a:cubicBezTo>
                  <a:pt x="48" y="86687"/>
                  <a:pt x="86878" y="-48"/>
                  <a:pt x="193929" y="0"/>
                </a:cubicBezTo>
                <a:close/>
              </a:path>
            </a:pathLst>
          </a:custGeom>
          <a:solidFill>
            <a:srgbClr val="F0F0F0"/>
          </a:solidFill>
          <a:ln w="9525" cap="flat">
            <a:noFill/>
            <a:prstDash val="solid"/>
            <a:miter/>
          </a:ln>
        </p:spPr>
        <p:txBody>
          <a:bodyPr rtlCol="0" anchor="ctr"/>
          <a:lstStyle/>
          <a:p>
            <a:endParaRPr lang="en-GB"/>
          </a:p>
        </p:txBody>
      </p:sp>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5" y="393192"/>
            <a:ext cx="10980738" cy="548640"/>
          </a:xfrm>
        </p:spPr>
        <p:txBody>
          <a:bodyPr vert="horz" anchor="ctr"/>
          <a:lstStyle>
            <a:lvl1pPr>
              <a:defRPr>
                <a:solidFill>
                  <a:schemeClr val="accent1"/>
                </a:solidFill>
              </a:defRPr>
            </a:lvl1pPr>
          </a:lstStyle>
          <a:p>
            <a:r>
              <a:rPr lang="en-US"/>
              <a:t>H1 placeholder.</a:t>
            </a:r>
            <a:endParaRPr lang="en-GB"/>
          </a:p>
        </p:txBody>
      </p:sp>
      <p:sp>
        <p:nvSpPr>
          <p:cNvPr id="64" name="Text Placeholder 21">
            <a:extLst>
              <a:ext uri="{FF2B5EF4-FFF2-40B4-BE49-F238E27FC236}">
                <a16:creationId xmlns:a16="http://schemas.microsoft.com/office/drawing/2014/main" id="{2FFED78A-DFC8-4249-A315-C4F755B57D4F}"/>
              </a:ext>
            </a:extLst>
          </p:cNvPr>
          <p:cNvSpPr>
            <a:spLocks noGrp="1"/>
          </p:cNvSpPr>
          <p:nvPr>
            <p:ph type="body" sz="quarter" idx="41" hasCustomPrompt="1"/>
          </p:nvPr>
        </p:nvSpPr>
        <p:spPr>
          <a:xfrm>
            <a:off x="587375" y="1426464"/>
            <a:ext cx="9888601" cy="1048904"/>
          </a:xfrm>
        </p:spPr>
        <p:txBody>
          <a:bodyPr/>
          <a:lstStyle>
            <a:lvl1pPr marL="0" indent="0">
              <a:buFont typeface="Arial" panose="020B0604020202020204" pitchFamily="34" charset="0"/>
              <a:buChar char="​"/>
              <a:defRPr/>
            </a:lvl1pPr>
            <a:lvl2pPr>
              <a:buNone/>
              <a:defRPr/>
            </a:lvl2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pPr lvl="0"/>
            <a:endParaRPr lang="en-US"/>
          </a:p>
        </p:txBody>
      </p:sp>
      <p:sp>
        <p:nvSpPr>
          <p:cNvPr id="77" name="Text Placeholder 48">
            <a:extLst>
              <a:ext uri="{FF2B5EF4-FFF2-40B4-BE49-F238E27FC236}">
                <a16:creationId xmlns:a16="http://schemas.microsoft.com/office/drawing/2014/main" id="{9A50676A-AA83-46CD-993F-E120F6A35499}"/>
              </a:ext>
            </a:extLst>
          </p:cNvPr>
          <p:cNvSpPr>
            <a:spLocks noGrp="1"/>
          </p:cNvSpPr>
          <p:nvPr>
            <p:ph type="body" sz="quarter" idx="42" hasCustomPrompt="1"/>
          </p:nvPr>
        </p:nvSpPr>
        <p:spPr>
          <a:xfrm>
            <a:off x="587375" y="2567310"/>
            <a:ext cx="2374438" cy="3230563"/>
          </a:xfrm>
          <a:solidFill>
            <a:schemeClr val="accent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79" name="Text Placeholder 52">
            <a:extLst>
              <a:ext uri="{FF2B5EF4-FFF2-40B4-BE49-F238E27FC236}">
                <a16:creationId xmlns:a16="http://schemas.microsoft.com/office/drawing/2014/main" id="{9145594D-1656-4931-8C10-2201D70342ED}"/>
              </a:ext>
            </a:extLst>
          </p:cNvPr>
          <p:cNvSpPr>
            <a:spLocks noGrp="1"/>
          </p:cNvSpPr>
          <p:nvPr>
            <p:ph type="body" sz="quarter" idx="44" hasCustomPrompt="1"/>
          </p:nvPr>
        </p:nvSpPr>
        <p:spPr>
          <a:xfrm>
            <a:off x="736878" y="3290908"/>
            <a:ext cx="2061906" cy="472283"/>
          </a:xfrm>
        </p:spPr>
        <p:txBody>
          <a:bodyPr lIns="36000" rIns="36000">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80" name="Text Placeholder 54">
            <a:extLst>
              <a:ext uri="{FF2B5EF4-FFF2-40B4-BE49-F238E27FC236}">
                <a16:creationId xmlns:a16="http://schemas.microsoft.com/office/drawing/2014/main" id="{553C7A6B-694C-4230-A9B4-2F8446026AAA}"/>
              </a:ext>
            </a:extLst>
          </p:cNvPr>
          <p:cNvSpPr>
            <a:spLocks noGrp="1"/>
          </p:cNvSpPr>
          <p:nvPr>
            <p:ph type="body" sz="quarter" idx="45" hasCustomPrompt="1"/>
          </p:nvPr>
        </p:nvSpPr>
        <p:spPr>
          <a:xfrm>
            <a:off x="736878" y="3772355"/>
            <a:ext cx="2061906" cy="1888546"/>
          </a:xfrm>
        </p:spPr>
        <p:txBody>
          <a:bodyPr lIns="36000" rIns="36000">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pPr lvl="0"/>
            <a:endParaRPr lang="en-US"/>
          </a:p>
        </p:txBody>
      </p:sp>
      <p:sp>
        <p:nvSpPr>
          <p:cNvPr id="102" name="Text Placeholder 48">
            <a:extLst>
              <a:ext uri="{FF2B5EF4-FFF2-40B4-BE49-F238E27FC236}">
                <a16:creationId xmlns:a16="http://schemas.microsoft.com/office/drawing/2014/main" id="{A53B4959-7385-4A69-BCA2-93AB2815F66B}"/>
              </a:ext>
            </a:extLst>
          </p:cNvPr>
          <p:cNvSpPr>
            <a:spLocks noGrp="1"/>
          </p:cNvSpPr>
          <p:nvPr>
            <p:ph type="body" sz="quarter" idx="49" hasCustomPrompt="1"/>
          </p:nvPr>
        </p:nvSpPr>
        <p:spPr>
          <a:xfrm>
            <a:off x="9193675" y="2567310"/>
            <a:ext cx="2374438" cy="3230563"/>
          </a:xfrm>
          <a:solidFill>
            <a:schemeClr val="accent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103" name="Text Placeholder 52">
            <a:extLst>
              <a:ext uri="{FF2B5EF4-FFF2-40B4-BE49-F238E27FC236}">
                <a16:creationId xmlns:a16="http://schemas.microsoft.com/office/drawing/2014/main" id="{1010AE40-A5D4-48CB-B2BD-A6ACC55CBBE8}"/>
              </a:ext>
            </a:extLst>
          </p:cNvPr>
          <p:cNvSpPr>
            <a:spLocks noGrp="1"/>
          </p:cNvSpPr>
          <p:nvPr>
            <p:ph type="body" sz="quarter" idx="50" hasCustomPrompt="1"/>
          </p:nvPr>
        </p:nvSpPr>
        <p:spPr>
          <a:xfrm>
            <a:off x="9349941" y="3290908"/>
            <a:ext cx="2061906" cy="472283"/>
          </a:xfrm>
        </p:spPr>
        <p:txBody>
          <a:bodyPr lIns="36000" rIns="36000">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104" name="Text Placeholder 54">
            <a:extLst>
              <a:ext uri="{FF2B5EF4-FFF2-40B4-BE49-F238E27FC236}">
                <a16:creationId xmlns:a16="http://schemas.microsoft.com/office/drawing/2014/main" id="{F7FF6FA2-6005-4DCF-9C1C-8D2891420734}"/>
              </a:ext>
            </a:extLst>
          </p:cNvPr>
          <p:cNvSpPr>
            <a:spLocks noGrp="1"/>
          </p:cNvSpPr>
          <p:nvPr>
            <p:ph type="body" sz="quarter" idx="51" hasCustomPrompt="1"/>
          </p:nvPr>
        </p:nvSpPr>
        <p:spPr>
          <a:xfrm>
            <a:off x="9349941" y="3772355"/>
            <a:ext cx="2061906" cy="1888546"/>
          </a:xfrm>
        </p:spPr>
        <p:txBody>
          <a:bodyPr lIns="36000" rIns="36000">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107" name="Text Placeholder 48">
            <a:extLst>
              <a:ext uri="{FF2B5EF4-FFF2-40B4-BE49-F238E27FC236}">
                <a16:creationId xmlns:a16="http://schemas.microsoft.com/office/drawing/2014/main" id="{59CD77CD-6E19-48C1-8E0D-C52AF952D26F}"/>
              </a:ext>
            </a:extLst>
          </p:cNvPr>
          <p:cNvSpPr>
            <a:spLocks noGrp="1"/>
          </p:cNvSpPr>
          <p:nvPr>
            <p:ph type="body" sz="quarter" idx="54" hasCustomPrompt="1"/>
          </p:nvPr>
        </p:nvSpPr>
        <p:spPr>
          <a:xfrm>
            <a:off x="6324909" y="2567310"/>
            <a:ext cx="2374438" cy="3230563"/>
          </a:xfrm>
          <a:solidFill>
            <a:schemeClr val="accent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108" name="Text Placeholder 52">
            <a:extLst>
              <a:ext uri="{FF2B5EF4-FFF2-40B4-BE49-F238E27FC236}">
                <a16:creationId xmlns:a16="http://schemas.microsoft.com/office/drawing/2014/main" id="{3BE07E0F-F140-4B4F-8054-D7A5588523C3}"/>
              </a:ext>
            </a:extLst>
          </p:cNvPr>
          <p:cNvSpPr>
            <a:spLocks noGrp="1"/>
          </p:cNvSpPr>
          <p:nvPr>
            <p:ph type="body" sz="quarter" idx="55" hasCustomPrompt="1"/>
          </p:nvPr>
        </p:nvSpPr>
        <p:spPr>
          <a:xfrm>
            <a:off x="6481175" y="3290908"/>
            <a:ext cx="2061906" cy="472283"/>
          </a:xfrm>
        </p:spPr>
        <p:txBody>
          <a:bodyPr lIns="36000" rIns="36000">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109" name="Text Placeholder 54">
            <a:extLst>
              <a:ext uri="{FF2B5EF4-FFF2-40B4-BE49-F238E27FC236}">
                <a16:creationId xmlns:a16="http://schemas.microsoft.com/office/drawing/2014/main" id="{CD867CF6-751F-4DC8-8B6C-8A0A17EA047D}"/>
              </a:ext>
            </a:extLst>
          </p:cNvPr>
          <p:cNvSpPr>
            <a:spLocks noGrp="1"/>
          </p:cNvSpPr>
          <p:nvPr>
            <p:ph type="body" sz="quarter" idx="56" hasCustomPrompt="1"/>
          </p:nvPr>
        </p:nvSpPr>
        <p:spPr>
          <a:xfrm>
            <a:off x="6481175" y="3772355"/>
            <a:ext cx="2061906" cy="1888546"/>
          </a:xfrm>
        </p:spPr>
        <p:txBody>
          <a:bodyPr lIns="36000" rIns="36000">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112" name="Text Placeholder 48">
            <a:extLst>
              <a:ext uri="{FF2B5EF4-FFF2-40B4-BE49-F238E27FC236}">
                <a16:creationId xmlns:a16="http://schemas.microsoft.com/office/drawing/2014/main" id="{B1C71168-A8C2-46BC-862A-E6FF8820F84C}"/>
              </a:ext>
            </a:extLst>
          </p:cNvPr>
          <p:cNvSpPr>
            <a:spLocks noGrp="1"/>
          </p:cNvSpPr>
          <p:nvPr>
            <p:ph type="body" sz="quarter" idx="59" hasCustomPrompt="1"/>
          </p:nvPr>
        </p:nvSpPr>
        <p:spPr>
          <a:xfrm>
            <a:off x="3456142" y="2567310"/>
            <a:ext cx="2374438" cy="3230563"/>
          </a:xfrm>
          <a:solidFill>
            <a:schemeClr val="accent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113" name="Text Placeholder 52">
            <a:extLst>
              <a:ext uri="{FF2B5EF4-FFF2-40B4-BE49-F238E27FC236}">
                <a16:creationId xmlns:a16="http://schemas.microsoft.com/office/drawing/2014/main" id="{A5D321D1-93B5-42D5-B16C-4FBBD72CC338}"/>
              </a:ext>
            </a:extLst>
          </p:cNvPr>
          <p:cNvSpPr>
            <a:spLocks noGrp="1"/>
          </p:cNvSpPr>
          <p:nvPr>
            <p:ph type="body" sz="quarter" idx="60" hasCustomPrompt="1"/>
          </p:nvPr>
        </p:nvSpPr>
        <p:spPr>
          <a:xfrm>
            <a:off x="3612408" y="3290908"/>
            <a:ext cx="2061906" cy="472283"/>
          </a:xfrm>
        </p:spPr>
        <p:txBody>
          <a:bodyPr lIns="36000" rIns="36000">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114" name="Text Placeholder 54">
            <a:extLst>
              <a:ext uri="{FF2B5EF4-FFF2-40B4-BE49-F238E27FC236}">
                <a16:creationId xmlns:a16="http://schemas.microsoft.com/office/drawing/2014/main" id="{56DB72A9-8797-4B56-9A03-F7C85EB5E745}"/>
              </a:ext>
            </a:extLst>
          </p:cNvPr>
          <p:cNvSpPr>
            <a:spLocks noGrp="1"/>
          </p:cNvSpPr>
          <p:nvPr>
            <p:ph type="body" sz="quarter" idx="61" hasCustomPrompt="1"/>
          </p:nvPr>
        </p:nvSpPr>
        <p:spPr>
          <a:xfrm>
            <a:off x="3612408" y="3772355"/>
            <a:ext cx="2061906" cy="1888546"/>
          </a:xfrm>
        </p:spPr>
        <p:txBody>
          <a:bodyPr lIns="36000" rIns="36000">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41" name="Picture Placeholder 40">
            <a:extLst>
              <a:ext uri="{FF2B5EF4-FFF2-40B4-BE49-F238E27FC236}">
                <a16:creationId xmlns:a16="http://schemas.microsoft.com/office/drawing/2014/main" id="{94D482B7-E96C-4340-AAAD-1651323B005B}"/>
              </a:ext>
            </a:extLst>
          </p:cNvPr>
          <p:cNvSpPr>
            <a:spLocks noGrp="1"/>
          </p:cNvSpPr>
          <p:nvPr>
            <p:ph type="pic" sz="quarter" idx="66" hasCustomPrompt="1"/>
          </p:nvPr>
        </p:nvSpPr>
        <p:spPr>
          <a:xfrm>
            <a:off x="736878" y="2641376"/>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a:t> Icon</a:t>
            </a:r>
            <a:endParaRPr lang="en-GB"/>
          </a:p>
        </p:txBody>
      </p:sp>
      <p:sp>
        <p:nvSpPr>
          <p:cNvPr id="42" name="Picture Placeholder 41">
            <a:extLst>
              <a:ext uri="{FF2B5EF4-FFF2-40B4-BE49-F238E27FC236}">
                <a16:creationId xmlns:a16="http://schemas.microsoft.com/office/drawing/2014/main" id="{5FBCF059-1F0A-41D7-AA85-E5207B4607FA}"/>
              </a:ext>
            </a:extLst>
          </p:cNvPr>
          <p:cNvSpPr>
            <a:spLocks noGrp="1"/>
          </p:cNvSpPr>
          <p:nvPr>
            <p:ph type="pic" sz="quarter" idx="67" hasCustomPrompt="1"/>
          </p:nvPr>
        </p:nvSpPr>
        <p:spPr>
          <a:xfrm>
            <a:off x="3612408" y="2641376"/>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a:t> Icon</a:t>
            </a:r>
            <a:endParaRPr lang="en-GB"/>
          </a:p>
        </p:txBody>
      </p:sp>
      <p:sp>
        <p:nvSpPr>
          <p:cNvPr id="43" name="Picture Placeholder 42">
            <a:extLst>
              <a:ext uri="{FF2B5EF4-FFF2-40B4-BE49-F238E27FC236}">
                <a16:creationId xmlns:a16="http://schemas.microsoft.com/office/drawing/2014/main" id="{C08D8554-3972-41AC-A558-004865CB0E3F}"/>
              </a:ext>
            </a:extLst>
          </p:cNvPr>
          <p:cNvSpPr>
            <a:spLocks noGrp="1"/>
          </p:cNvSpPr>
          <p:nvPr>
            <p:ph type="pic" sz="quarter" idx="68" hasCustomPrompt="1"/>
          </p:nvPr>
        </p:nvSpPr>
        <p:spPr>
          <a:xfrm>
            <a:off x="6431161" y="2641376"/>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a:t> Icon</a:t>
            </a:r>
            <a:endParaRPr lang="en-GB"/>
          </a:p>
        </p:txBody>
      </p:sp>
      <p:sp>
        <p:nvSpPr>
          <p:cNvPr id="44" name="Picture Placeholder 43">
            <a:extLst>
              <a:ext uri="{FF2B5EF4-FFF2-40B4-BE49-F238E27FC236}">
                <a16:creationId xmlns:a16="http://schemas.microsoft.com/office/drawing/2014/main" id="{7371168E-810C-4139-A4C7-107BC24E2B60}"/>
              </a:ext>
            </a:extLst>
          </p:cNvPr>
          <p:cNvSpPr>
            <a:spLocks noGrp="1"/>
          </p:cNvSpPr>
          <p:nvPr>
            <p:ph type="pic" sz="quarter" idx="69" hasCustomPrompt="1"/>
          </p:nvPr>
        </p:nvSpPr>
        <p:spPr>
          <a:xfrm>
            <a:off x="9344763" y="2641376"/>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a:t> Icon</a:t>
            </a:r>
            <a:endParaRPr lang="en-GB"/>
          </a:p>
        </p:txBody>
      </p:sp>
    </p:spTree>
    <p:custDataLst>
      <p:tags r:id="rId1"/>
    </p:custDataLst>
    <p:extLst>
      <p:ext uri="{BB962C8B-B14F-4D97-AF65-F5344CB8AC3E}">
        <p14:creationId xmlns:p14="http://schemas.microsoft.com/office/powerpoint/2010/main" val="359974838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Four Card Purpl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5" y="393192"/>
            <a:ext cx="10980738" cy="548640"/>
          </a:xfrm>
        </p:spPr>
        <p:txBody>
          <a:bodyPr/>
          <a:lstStyle>
            <a:lvl1pPr>
              <a:defRPr>
                <a:solidFill>
                  <a:schemeClr val="bg1"/>
                </a:solidFill>
              </a:defRPr>
            </a:lvl1pPr>
          </a:lstStyle>
          <a:p>
            <a:r>
              <a:rPr lang="en-US"/>
              <a:t>H1 placeholder.</a:t>
            </a:r>
            <a:endParaRPr lang="en-GB"/>
          </a:p>
        </p:txBody>
      </p:sp>
      <p:sp>
        <p:nvSpPr>
          <p:cNvPr id="66" name="Text Placeholder 21">
            <a:extLst>
              <a:ext uri="{FF2B5EF4-FFF2-40B4-BE49-F238E27FC236}">
                <a16:creationId xmlns:a16="http://schemas.microsoft.com/office/drawing/2014/main" id="{98BE2FFC-C672-48F4-A249-C26E0AEEE725}"/>
              </a:ext>
            </a:extLst>
          </p:cNvPr>
          <p:cNvSpPr>
            <a:spLocks noGrp="1"/>
          </p:cNvSpPr>
          <p:nvPr>
            <p:ph type="body" sz="quarter" idx="41" hasCustomPrompt="1"/>
          </p:nvPr>
        </p:nvSpPr>
        <p:spPr>
          <a:xfrm>
            <a:off x="587375" y="1426464"/>
            <a:ext cx="10980738" cy="1048904"/>
          </a:xfrm>
        </p:spPr>
        <p:txBody>
          <a:bodyPr/>
          <a:lstStyle>
            <a:lvl1pPr marL="0" indent="0">
              <a:buFont typeface="Arial" panose="020B0604020202020204" pitchFamily="34" charset="0"/>
              <a:buChar char="​"/>
              <a:defRPr>
                <a:solidFill>
                  <a:schemeClr val="bg1"/>
                </a:solidFill>
              </a:defRPr>
            </a:lvl1pPr>
            <a:lvl2pPr>
              <a:buNone/>
              <a:defRPr/>
            </a:lvl2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pPr lvl="0"/>
            <a:endParaRPr lang="en-US"/>
          </a:p>
        </p:txBody>
      </p:sp>
      <p:sp>
        <p:nvSpPr>
          <p:cNvPr id="67" name="Text Placeholder 48">
            <a:extLst>
              <a:ext uri="{FF2B5EF4-FFF2-40B4-BE49-F238E27FC236}">
                <a16:creationId xmlns:a16="http://schemas.microsoft.com/office/drawing/2014/main" id="{92CC8151-809F-408B-B956-8F1FB70F2B23}"/>
              </a:ext>
            </a:extLst>
          </p:cNvPr>
          <p:cNvSpPr>
            <a:spLocks noGrp="1"/>
          </p:cNvSpPr>
          <p:nvPr>
            <p:ph type="body" sz="quarter" idx="44" hasCustomPrompt="1"/>
          </p:nvPr>
        </p:nvSpPr>
        <p:spPr>
          <a:xfrm>
            <a:off x="587375" y="2567310"/>
            <a:ext cx="2374438"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68" name="Text Placeholder 52">
            <a:extLst>
              <a:ext uri="{FF2B5EF4-FFF2-40B4-BE49-F238E27FC236}">
                <a16:creationId xmlns:a16="http://schemas.microsoft.com/office/drawing/2014/main" id="{D8D33EF8-5490-4FD1-92A9-474DDF89F17B}"/>
              </a:ext>
            </a:extLst>
          </p:cNvPr>
          <p:cNvSpPr>
            <a:spLocks noGrp="1"/>
          </p:cNvSpPr>
          <p:nvPr>
            <p:ph type="body" sz="quarter" idx="45" hasCustomPrompt="1"/>
          </p:nvPr>
        </p:nvSpPr>
        <p:spPr>
          <a:xfrm>
            <a:off x="736878" y="3290908"/>
            <a:ext cx="2061906" cy="472283"/>
          </a:xfrm>
        </p:spPr>
        <p:txBody>
          <a:bodyPr lIns="36000" rIns="36000">
            <a:normAutofit/>
          </a:bodyPr>
          <a:lstStyle>
            <a:lvl1pPr marL="0" indent="0">
              <a:buFont typeface="Arial" panose="020B0604020202020204" pitchFamily="34" charset="0"/>
              <a:buChar char="​"/>
              <a:defRPr sz="2000" b="1">
                <a:solidFill>
                  <a:schemeClr val="accent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69" name="Text Placeholder 54">
            <a:extLst>
              <a:ext uri="{FF2B5EF4-FFF2-40B4-BE49-F238E27FC236}">
                <a16:creationId xmlns:a16="http://schemas.microsoft.com/office/drawing/2014/main" id="{443F0561-EF8E-4718-A0BA-0D2192BC7858}"/>
              </a:ext>
            </a:extLst>
          </p:cNvPr>
          <p:cNvSpPr>
            <a:spLocks noGrp="1"/>
          </p:cNvSpPr>
          <p:nvPr>
            <p:ph type="body" sz="quarter" idx="46" hasCustomPrompt="1"/>
          </p:nvPr>
        </p:nvSpPr>
        <p:spPr>
          <a:xfrm>
            <a:off x="736878" y="3772355"/>
            <a:ext cx="2061906" cy="1888546"/>
          </a:xfrm>
        </p:spPr>
        <p:txBody>
          <a:bodyPr lIns="36000" rIns="36000">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70" name="Text Placeholder 50">
            <a:extLst>
              <a:ext uri="{FF2B5EF4-FFF2-40B4-BE49-F238E27FC236}">
                <a16:creationId xmlns:a16="http://schemas.microsoft.com/office/drawing/2014/main" id="{DF0A0A4C-AD27-4650-8A91-328018584F00}"/>
              </a:ext>
            </a:extLst>
          </p:cNvPr>
          <p:cNvSpPr>
            <a:spLocks noGrp="1"/>
          </p:cNvSpPr>
          <p:nvPr>
            <p:ph type="body" sz="quarter" idx="47" hasCustomPrompt="1"/>
          </p:nvPr>
        </p:nvSpPr>
        <p:spPr>
          <a:xfrm>
            <a:off x="736878" y="2731542"/>
            <a:ext cx="581747" cy="320088"/>
          </a:xfrm>
        </p:spPr>
        <p:txBody>
          <a:bodyPr lIns="36000" rIns="36000"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a:t>
            </a:r>
          </a:p>
        </p:txBody>
      </p:sp>
      <p:sp>
        <p:nvSpPr>
          <p:cNvPr id="72" name="Text Placeholder 48">
            <a:extLst>
              <a:ext uri="{FF2B5EF4-FFF2-40B4-BE49-F238E27FC236}">
                <a16:creationId xmlns:a16="http://schemas.microsoft.com/office/drawing/2014/main" id="{CA09BA7D-E8CA-44B3-9FF4-461E0E2C8B7C}"/>
              </a:ext>
            </a:extLst>
          </p:cNvPr>
          <p:cNvSpPr>
            <a:spLocks noGrp="1"/>
          </p:cNvSpPr>
          <p:nvPr>
            <p:ph type="body" sz="quarter" idx="49" hasCustomPrompt="1"/>
          </p:nvPr>
        </p:nvSpPr>
        <p:spPr>
          <a:xfrm>
            <a:off x="9193675" y="2567310"/>
            <a:ext cx="2374438"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73" name="Text Placeholder 52">
            <a:extLst>
              <a:ext uri="{FF2B5EF4-FFF2-40B4-BE49-F238E27FC236}">
                <a16:creationId xmlns:a16="http://schemas.microsoft.com/office/drawing/2014/main" id="{ECE94999-7C02-48C2-B853-AF1539D807ED}"/>
              </a:ext>
            </a:extLst>
          </p:cNvPr>
          <p:cNvSpPr>
            <a:spLocks noGrp="1"/>
          </p:cNvSpPr>
          <p:nvPr>
            <p:ph type="body" sz="quarter" idx="50" hasCustomPrompt="1"/>
          </p:nvPr>
        </p:nvSpPr>
        <p:spPr>
          <a:xfrm>
            <a:off x="9349941" y="3290908"/>
            <a:ext cx="2061906" cy="472283"/>
          </a:xfrm>
        </p:spPr>
        <p:txBody>
          <a:bodyPr lIns="36000" rIns="36000">
            <a:normAutofit/>
          </a:bodyPr>
          <a:lstStyle>
            <a:lvl1pPr marL="0" indent="0">
              <a:buFont typeface="Arial" panose="020B0604020202020204" pitchFamily="34" charset="0"/>
              <a:buChar char="​"/>
              <a:defRPr sz="2000" b="1">
                <a:solidFill>
                  <a:schemeClr val="accent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74" name="Text Placeholder 54">
            <a:extLst>
              <a:ext uri="{FF2B5EF4-FFF2-40B4-BE49-F238E27FC236}">
                <a16:creationId xmlns:a16="http://schemas.microsoft.com/office/drawing/2014/main" id="{4B247116-1DDE-4612-9080-D953C16E01A6}"/>
              </a:ext>
            </a:extLst>
          </p:cNvPr>
          <p:cNvSpPr>
            <a:spLocks noGrp="1"/>
          </p:cNvSpPr>
          <p:nvPr>
            <p:ph type="body" sz="quarter" idx="51" hasCustomPrompt="1"/>
          </p:nvPr>
        </p:nvSpPr>
        <p:spPr>
          <a:xfrm>
            <a:off x="9349941" y="3772355"/>
            <a:ext cx="2061906" cy="1888546"/>
          </a:xfrm>
        </p:spPr>
        <p:txBody>
          <a:bodyPr lIns="36000" rIns="36000">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75" name="Text Placeholder 50">
            <a:extLst>
              <a:ext uri="{FF2B5EF4-FFF2-40B4-BE49-F238E27FC236}">
                <a16:creationId xmlns:a16="http://schemas.microsoft.com/office/drawing/2014/main" id="{24B34B21-C913-4BA3-B630-AEA04BCB77BB}"/>
              </a:ext>
            </a:extLst>
          </p:cNvPr>
          <p:cNvSpPr>
            <a:spLocks noGrp="1"/>
          </p:cNvSpPr>
          <p:nvPr>
            <p:ph type="body" sz="quarter" idx="52" hasCustomPrompt="1"/>
          </p:nvPr>
        </p:nvSpPr>
        <p:spPr>
          <a:xfrm>
            <a:off x="9349941" y="2731542"/>
            <a:ext cx="581747" cy="320088"/>
          </a:xfrm>
        </p:spPr>
        <p:txBody>
          <a:bodyPr lIns="36000" rIns="36000"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a:t>
            </a:r>
          </a:p>
        </p:txBody>
      </p:sp>
      <p:sp>
        <p:nvSpPr>
          <p:cNvPr id="77" name="Text Placeholder 48">
            <a:extLst>
              <a:ext uri="{FF2B5EF4-FFF2-40B4-BE49-F238E27FC236}">
                <a16:creationId xmlns:a16="http://schemas.microsoft.com/office/drawing/2014/main" id="{AAE5807E-F229-4AF5-AFB0-DFE27F2E393E}"/>
              </a:ext>
            </a:extLst>
          </p:cNvPr>
          <p:cNvSpPr>
            <a:spLocks noGrp="1"/>
          </p:cNvSpPr>
          <p:nvPr>
            <p:ph type="body" sz="quarter" idx="54" hasCustomPrompt="1"/>
          </p:nvPr>
        </p:nvSpPr>
        <p:spPr>
          <a:xfrm>
            <a:off x="6324909" y="2567310"/>
            <a:ext cx="2374438"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78" name="Text Placeholder 52">
            <a:extLst>
              <a:ext uri="{FF2B5EF4-FFF2-40B4-BE49-F238E27FC236}">
                <a16:creationId xmlns:a16="http://schemas.microsoft.com/office/drawing/2014/main" id="{B6BC0273-6C5B-447B-8E7A-30A4886E926D}"/>
              </a:ext>
            </a:extLst>
          </p:cNvPr>
          <p:cNvSpPr>
            <a:spLocks noGrp="1"/>
          </p:cNvSpPr>
          <p:nvPr>
            <p:ph type="body" sz="quarter" idx="55" hasCustomPrompt="1"/>
          </p:nvPr>
        </p:nvSpPr>
        <p:spPr>
          <a:xfrm>
            <a:off x="6481175" y="3290908"/>
            <a:ext cx="2061906" cy="472283"/>
          </a:xfrm>
        </p:spPr>
        <p:txBody>
          <a:bodyPr lIns="36000" rIns="36000">
            <a:normAutofit/>
          </a:bodyPr>
          <a:lstStyle>
            <a:lvl1pPr marL="0" indent="0">
              <a:buFont typeface="Arial" panose="020B0604020202020204" pitchFamily="34" charset="0"/>
              <a:buChar char="​"/>
              <a:defRPr sz="2000" b="1">
                <a:solidFill>
                  <a:schemeClr val="accent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79" name="Text Placeholder 54">
            <a:extLst>
              <a:ext uri="{FF2B5EF4-FFF2-40B4-BE49-F238E27FC236}">
                <a16:creationId xmlns:a16="http://schemas.microsoft.com/office/drawing/2014/main" id="{ED8DB56F-9C9A-4385-99B7-89FA6DE8A455}"/>
              </a:ext>
            </a:extLst>
          </p:cNvPr>
          <p:cNvSpPr>
            <a:spLocks noGrp="1"/>
          </p:cNvSpPr>
          <p:nvPr>
            <p:ph type="body" sz="quarter" idx="56" hasCustomPrompt="1"/>
          </p:nvPr>
        </p:nvSpPr>
        <p:spPr>
          <a:xfrm>
            <a:off x="6481175" y="3772355"/>
            <a:ext cx="2061906" cy="1888546"/>
          </a:xfrm>
        </p:spPr>
        <p:txBody>
          <a:bodyPr lIns="36000" rIns="36000">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80" name="Text Placeholder 50">
            <a:extLst>
              <a:ext uri="{FF2B5EF4-FFF2-40B4-BE49-F238E27FC236}">
                <a16:creationId xmlns:a16="http://schemas.microsoft.com/office/drawing/2014/main" id="{64EE6AFD-4755-4880-82A4-59F145999DC9}"/>
              </a:ext>
            </a:extLst>
          </p:cNvPr>
          <p:cNvSpPr>
            <a:spLocks noGrp="1"/>
          </p:cNvSpPr>
          <p:nvPr>
            <p:ph type="body" sz="quarter" idx="57" hasCustomPrompt="1"/>
          </p:nvPr>
        </p:nvSpPr>
        <p:spPr>
          <a:xfrm>
            <a:off x="6481175" y="2731542"/>
            <a:ext cx="581747" cy="320088"/>
          </a:xfrm>
        </p:spPr>
        <p:txBody>
          <a:bodyPr lIns="36000" rIns="36000"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a:t>
            </a:r>
          </a:p>
        </p:txBody>
      </p:sp>
      <p:sp>
        <p:nvSpPr>
          <p:cNvPr id="82" name="Text Placeholder 48">
            <a:extLst>
              <a:ext uri="{FF2B5EF4-FFF2-40B4-BE49-F238E27FC236}">
                <a16:creationId xmlns:a16="http://schemas.microsoft.com/office/drawing/2014/main" id="{EFE3C20B-CA8A-4B63-B94A-544694E33F71}"/>
              </a:ext>
            </a:extLst>
          </p:cNvPr>
          <p:cNvSpPr>
            <a:spLocks noGrp="1"/>
          </p:cNvSpPr>
          <p:nvPr>
            <p:ph type="body" sz="quarter" idx="59" hasCustomPrompt="1"/>
          </p:nvPr>
        </p:nvSpPr>
        <p:spPr>
          <a:xfrm>
            <a:off x="3456142" y="2567310"/>
            <a:ext cx="2374438"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83" name="Text Placeholder 52">
            <a:extLst>
              <a:ext uri="{FF2B5EF4-FFF2-40B4-BE49-F238E27FC236}">
                <a16:creationId xmlns:a16="http://schemas.microsoft.com/office/drawing/2014/main" id="{5592A2BA-A980-4A97-93A1-38C6354B8BB7}"/>
              </a:ext>
            </a:extLst>
          </p:cNvPr>
          <p:cNvSpPr>
            <a:spLocks noGrp="1"/>
          </p:cNvSpPr>
          <p:nvPr>
            <p:ph type="body" sz="quarter" idx="60" hasCustomPrompt="1"/>
          </p:nvPr>
        </p:nvSpPr>
        <p:spPr>
          <a:xfrm>
            <a:off x="3612408" y="3290908"/>
            <a:ext cx="2061906" cy="472283"/>
          </a:xfrm>
        </p:spPr>
        <p:txBody>
          <a:bodyPr lIns="36000" rIns="36000">
            <a:normAutofit/>
          </a:bodyPr>
          <a:lstStyle>
            <a:lvl1pPr marL="0" indent="0">
              <a:buFont typeface="Arial" panose="020B0604020202020204" pitchFamily="34" charset="0"/>
              <a:buChar char="​"/>
              <a:defRPr sz="2000" b="1">
                <a:solidFill>
                  <a:schemeClr val="accent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84" name="Text Placeholder 54">
            <a:extLst>
              <a:ext uri="{FF2B5EF4-FFF2-40B4-BE49-F238E27FC236}">
                <a16:creationId xmlns:a16="http://schemas.microsoft.com/office/drawing/2014/main" id="{F2C09360-3ABD-4C8C-A98E-7324299FE710}"/>
              </a:ext>
            </a:extLst>
          </p:cNvPr>
          <p:cNvSpPr>
            <a:spLocks noGrp="1"/>
          </p:cNvSpPr>
          <p:nvPr>
            <p:ph type="body" sz="quarter" idx="61" hasCustomPrompt="1"/>
          </p:nvPr>
        </p:nvSpPr>
        <p:spPr>
          <a:xfrm>
            <a:off x="3612408" y="3772355"/>
            <a:ext cx="2061906" cy="1888546"/>
          </a:xfrm>
        </p:spPr>
        <p:txBody>
          <a:bodyPr lIns="36000" rIns="36000">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85" name="Text Placeholder 50">
            <a:extLst>
              <a:ext uri="{FF2B5EF4-FFF2-40B4-BE49-F238E27FC236}">
                <a16:creationId xmlns:a16="http://schemas.microsoft.com/office/drawing/2014/main" id="{0076421F-1586-4A65-BA35-6E40A5C81085}"/>
              </a:ext>
            </a:extLst>
          </p:cNvPr>
          <p:cNvSpPr>
            <a:spLocks noGrp="1"/>
          </p:cNvSpPr>
          <p:nvPr>
            <p:ph type="body" sz="quarter" idx="62" hasCustomPrompt="1"/>
          </p:nvPr>
        </p:nvSpPr>
        <p:spPr>
          <a:xfrm>
            <a:off x="3612408" y="2731542"/>
            <a:ext cx="581747" cy="320088"/>
          </a:xfrm>
        </p:spPr>
        <p:txBody>
          <a:bodyPr lIns="36000" rIns="36000"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a:t>
            </a:r>
          </a:p>
        </p:txBody>
      </p:sp>
      <p:sp>
        <p:nvSpPr>
          <p:cNvPr id="24" name="Slide Number Placeholder 2">
            <a:extLst>
              <a:ext uri="{FF2B5EF4-FFF2-40B4-BE49-F238E27FC236}">
                <a16:creationId xmlns:a16="http://schemas.microsoft.com/office/drawing/2014/main" id="{680666B0-ABEF-427A-AD55-91F043A25220}"/>
              </a:ext>
            </a:extLst>
          </p:cNvPr>
          <p:cNvSpPr txBox="1">
            <a:spLocks/>
          </p:cNvSpPr>
          <p:nvPr userDrawn="1"/>
        </p:nvSpPr>
        <p:spPr>
          <a:xfrm>
            <a:off x="11494008" y="6476999"/>
            <a:ext cx="382601" cy="228600"/>
          </a:xfrm>
          <a:prstGeom prst="rect">
            <a:avLst/>
          </a:prstGeom>
        </p:spPr>
        <p:txBody>
          <a:bodyPr vert="horz" lIns="91440" tIns="0" rIns="91440" bIns="0" rtlCol="0" anchor="ctr" anchorCtr="0"/>
          <a:lstStyle>
            <a:defPPr>
              <a:defRPr lang="en-US"/>
            </a:defPPr>
            <a:lvl1pPr algn="r">
              <a:defRPr sz="1000">
                <a:solidFill>
                  <a:srgbClr val="E0044E"/>
                </a:solidFill>
                <a:latin typeface="Segoe UI" panose="020B0502040204020203" pitchFamily="34" charset="0"/>
                <a:cs typeface="Segoe UI" panose="020B0502040204020203" pitchFamily="34" charset="0"/>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lvl="0"/>
            <a:fld id="{E20330FD-FE2A-483E-B0C7-29AD7FB3CAEB}" type="slidenum">
              <a:rPr lang="en-GB" noProof="0" smtClean="0">
                <a:solidFill>
                  <a:schemeClr val="bg1"/>
                </a:solidFill>
              </a:rPr>
              <a:pPr lvl="0"/>
              <a:t>‹#›</a:t>
            </a:fld>
            <a:endParaRPr lang="en-GB" noProof="0">
              <a:solidFill>
                <a:schemeClr val="bg1"/>
              </a:solidFill>
            </a:endParaRPr>
          </a:p>
        </p:txBody>
      </p:sp>
      <p:pic>
        <p:nvPicPr>
          <p:cNvPr id="25" name="Graphic 24">
            <a:extLst>
              <a:ext uri="{FF2B5EF4-FFF2-40B4-BE49-F238E27FC236}">
                <a16:creationId xmlns:a16="http://schemas.microsoft.com/office/drawing/2014/main" id="{31A01D55-4E51-43C7-95F9-D7898D2DFF31}"/>
              </a:ext>
            </a:extLst>
          </p:cNvPr>
          <p:cNvPicPr>
            <a:picLocks/>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07040" y="6556248"/>
            <a:ext cx="813816" cy="82296"/>
          </a:xfrm>
          <a:prstGeom prst="rect">
            <a:avLst/>
          </a:prstGeom>
        </p:spPr>
      </p:pic>
    </p:spTree>
    <p:custDataLst>
      <p:tags r:id="rId1"/>
    </p:custDataLst>
    <p:extLst>
      <p:ext uri="{BB962C8B-B14F-4D97-AF65-F5344CB8AC3E}">
        <p14:creationId xmlns:p14="http://schemas.microsoft.com/office/powerpoint/2010/main" val="774774503"/>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Four Card Purple with Icon Placeholders">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5" y="393192"/>
            <a:ext cx="10980738" cy="548640"/>
          </a:xfrm>
        </p:spPr>
        <p:txBody>
          <a:bodyPr/>
          <a:lstStyle>
            <a:lvl1pPr>
              <a:defRPr>
                <a:solidFill>
                  <a:schemeClr val="bg1"/>
                </a:solidFill>
              </a:defRPr>
            </a:lvl1pPr>
          </a:lstStyle>
          <a:p>
            <a:r>
              <a:rPr lang="en-US"/>
              <a:t>H1 placeholder.</a:t>
            </a:r>
            <a:endParaRPr lang="en-GB"/>
          </a:p>
        </p:txBody>
      </p:sp>
      <p:sp>
        <p:nvSpPr>
          <p:cNvPr id="66" name="Text Placeholder 21">
            <a:extLst>
              <a:ext uri="{FF2B5EF4-FFF2-40B4-BE49-F238E27FC236}">
                <a16:creationId xmlns:a16="http://schemas.microsoft.com/office/drawing/2014/main" id="{98BE2FFC-C672-48F4-A249-C26E0AEEE725}"/>
              </a:ext>
            </a:extLst>
          </p:cNvPr>
          <p:cNvSpPr>
            <a:spLocks noGrp="1"/>
          </p:cNvSpPr>
          <p:nvPr>
            <p:ph type="body" sz="quarter" idx="41" hasCustomPrompt="1"/>
          </p:nvPr>
        </p:nvSpPr>
        <p:spPr>
          <a:xfrm>
            <a:off x="587374" y="1426464"/>
            <a:ext cx="10980737" cy="1048904"/>
          </a:xfrm>
        </p:spPr>
        <p:txBody>
          <a:bodyPr/>
          <a:lstStyle>
            <a:lvl1pPr marL="0" indent="0">
              <a:buFont typeface="Arial" panose="020B0604020202020204" pitchFamily="34" charset="0"/>
              <a:buChar char="​"/>
              <a:defRPr>
                <a:solidFill>
                  <a:schemeClr val="bg1"/>
                </a:solidFill>
              </a:defRPr>
            </a:lvl1pPr>
            <a:lvl2pPr>
              <a:buNone/>
              <a:defRPr/>
            </a:lvl2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pPr lvl="0"/>
            <a:endParaRPr lang="en-US"/>
          </a:p>
        </p:txBody>
      </p:sp>
      <p:sp>
        <p:nvSpPr>
          <p:cNvPr id="67" name="Text Placeholder 48">
            <a:extLst>
              <a:ext uri="{FF2B5EF4-FFF2-40B4-BE49-F238E27FC236}">
                <a16:creationId xmlns:a16="http://schemas.microsoft.com/office/drawing/2014/main" id="{92CC8151-809F-408B-B956-8F1FB70F2B23}"/>
              </a:ext>
            </a:extLst>
          </p:cNvPr>
          <p:cNvSpPr>
            <a:spLocks noGrp="1"/>
          </p:cNvSpPr>
          <p:nvPr>
            <p:ph type="body" sz="quarter" idx="44" hasCustomPrompt="1"/>
          </p:nvPr>
        </p:nvSpPr>
        <p:spPr>
          <a:xfrm>
            <a:off x="587375" y="2567311"/>
            <a:ext cx="2374438"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68" name="Text Placeholder 52">
            <a:extLst>
              <a:ext uri="{FF2B5EF4-FFF2-40B4-BE49-F238E27FC236}">
                <a16:creationId xmlns:a16="http://schemas.microsoft.com/office/drawing/2014/main" id="{D8D33EF8-5490-4FD1-92A9-474DDF89F17B}"/>
              </a:ext>
            </a:extLst>
          </p:cNvPr>
          <p:cNvSpPr>
            <a:spLocks noGrp="1"/>
          </p:cNvSpPr>
          <p:nvPr>
            <p:ph type="body" sz="quarter" idx="45" hasCustomPrompt="1"/>
          </p:nvPr>
        </p:nvSpPr>
        <p:spPr>
          <a:xfrm>
            <a:off x="736878" y="3290909"/>
            <a:ext cx="2061906" cy="472283"/>
          </a:xfrm>
        </p:spPr>
        <p:txBody>
          <a:bodyPr lIns="36000" rIns="36000">
            <a:normAutofit/>
          </a:bodyPr>
          <a:lstStyle>
            <a:lvl1pPr marL="0" indent="0">
              <a:buFont typeface="Arial" panose="020B0604020202020204" pitchFamily="34" charset="0"/>
              <a:buChar char="​"/>
              <a:defRPr sz="2000" b="1">
                <a:solidFill>
                  <a:schemeClr val="accent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69" name="Text Placeholder 54">
            <a:extLst>
              <a:ext uri="{FF2B5EF4-FFF2-40B4-BE49-F238E27FC236}">
                <a16:creationId xmlns:a16="http://schemas.microsoft.com/office/drawing/2014/main" id="{443F0561-EF8E-4718-A0BA-0D2192BC7858}"/>
              </a:ext>
            </a:extLst>
          </p:cNvPr>
          <p:cNvSpPr>
            <a:spLocks noGrp="1"/>
          </p:cNvSpPr>
          <p:nvPr>
            <p:ph type="body" sz="quarter" idx="46" hasCustomPrompt="1"/>
          </p:nvPr>
        </p:nvSpPr>
        <p:spPr>
          <a:xfrm>
            <a:off x="736878" y="3772356"/>
            <a:ext cx="2061906" cy="1888546"/>
          </a:xfrm>
        </p:spPr>
        <p:txBody>
          <a:bodyPr lIns="36000" rIns="36000">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pPr lvl="0"/>
            <a:endParaRPr lang="en-US"/>
          </a:p>
        </p:txBody>
      </p:sp>
      <p:sp>
        <p:nvSpPr>
          <p:cNvPr id="72" name="Text Placeholder 48">
            <a:extLst>
              <a:ext uri="{FF2B5EF4-FFF2-40B4-BE49-F238E27FC236}">
                <a16:creationId xmlns:a16="http://schemas.microsoft.com/office/drawing/2014/main" id="{CA09BA7D-E8CA-44B3-9FF4-461E0E2C8B7C}"/>
              </a:ext>
            </a:extLst>
          </p:cNvPr>
          <p:cNvSpPr>
            <a:spLocks noGrp="1"/>
          </p:cNvSpPr>
          <p:nvPr>
            <p:ph type="body" sz="quarter" idx="49" hasCustomPrompt="1"/>
          </p:nvPr>
        </p:nvSpPr>
        <p:spPr>
          <a:xfrm>
            <a:off x="9193675" y="2567311"/>
            <a:ext cx="2374438"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73" name="Text Placeholder 52">
            <a:extLst>
              <a:ext uri="{FF2B5EF4-FFF2-40B4-BE49-F238E27FC236}">
                <a16:creationId xmlns:a16="http://schemas.microsoft.com/office/drawing/2014/main" id="{ECE94999-7C02-48C2-B853-AF1539D807ED}"/>
              </a:ext>
            </a:extLst>
          </p:cNvPr>
          <p:cNvSpPr>
            <a:spLocks noGrp="1"/>
          </p:cNvSpPr>
          <p:nvPr>
            <p:ph type="body" sz="quarter" idx="50" hasCustomPrompt="1"/>
          </p:nvPr>
        </p:nvSpPr>
        <p:spPr>
          <a:xfrm>
            <a:off x="9349941" y="3290909"/>
            <a:ext cx="2061906" cy="472283"/>
          </a:xfrm>
        </p:spPr>
        <p:txBody>
          <a:bodyPr lIns="36000" rIns="36000">
            <a:normAutofit/>
          </a:bodyPr>
          <a:lstStyle>
            <a:lvl1pPr marL="0" indent="0">
              <a:buFont typeface="Arial" panose="020B0604020202020204" pitchFamily="34" charset="0"/>
              <a:buChar char="​"/>
              <a:defRPr sz="2000" b="1">
                <a:solidFill>
                  <a:schemeClr val="accent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74" name="Text Placeholder 54">
            <a:extLst>
              <a:ext uri="{FF2B5EF4-FFF2-40B4-BE49-F238E27FC236}">
                <a16:creationId xmlns:a16="http://schemas.microsoft.com/office/drawing/2014/main" id="{4B247116-1DDE-4612-9080-D953C16E01A6}"/>
              </a:ext>
            </a:extLst>
          </p:cNvPr>
          <p:cNvSpPr>
            <a:spLocks noGrp="1"/>
          </p:cNvSpPr>
          <p:nvPr>
            <p:ph type="body" sz="quarter" idx="51" hasCustomPrompt="1"/>
          </p:nvPr>
        </p:nvSpPr>
        <p:spPr>
          <a:xfrm>
            <a:off x="9349941" y="3772356"/>
            <a:ext cx="2061906" cy="1888546"/>
          </a:xfrm>
        </p:spPr>
        <p:txBody>
          <a:bodyPr lIns="36000" rIns="36000">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77" name="Text Placeholder 48">
            <a:extLst>
              <a:ext uri="{FF2B5EF4-FFF2-40B4-BE49-F238E27FC236}">
                <a16:creationId xmlns:a16="http://schemas.microsoft.com/office/drawing/2014/main" id="{AAE5807E-F229-4AF5-AFB0-DFE27F2E393E}"/>
              </a:ext>
            </a:extLst>
          </p:cNvPr>
          <p:cNvSpPr>
            <a:spLocks noGrp="1"/>
          </p:cNvSpPr>
          <p:nvPr>
            <p:ph type="body" sz="quarter" idx="54" hasCustomPrompt="1"/>
          </p:nvPr>
        </p:nvSpPr>
        <p:spPr>
          <a:xfrm>
            <a:off x="6324909" y="2567311"/>
            <a:ext cx="2374438"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78" name="Text Placeholder 52">
            <a:extLst>
              <a:ext uri="{FF2B5EF4-FFF2-40B4-BE49-F238E27FC236}">
                <a16:creationId xmlns:a16="http://schemas.microsoft.com/office/drawing/2014/main" id="{B6BC0273-6C5B-447B-8E7A-30A4886E926D}"/>
              </a:ext>
            </a:extLst>
          </p:cNvPr>
          <p:cNvSpPr>
            <a:spLocks noGrp="1"/>
          </p:cNvSpPr>
          <p:nvPr>
            <p:ph type="body" sz="quarter" idx="55" hasCustomPrompt="1"/>
          </p:nvPr>
        </p:nvSpPr>
        <p:spPr>
          <a:xfrm>
            <a:off x="6481175" y="3290909"/>
            <a:ext cx="2061906" cy="472283"/>
          </a:xfrm>
        </p:spPr>
        <p:txBody>
          <a:bodyPr lIns="36000" rIns="36000">
            <a:normAutofit/>
          </a:bodyPr>
          <a:lstStyle>
            <a:lvl1pPr marL="0" indent="0">
              <a:buFont typeface="Arial" panose="020B0604020202020204" pitchFamily="34" charset="0"/>
              <a:buChar char="​"/>
              <a:defRPr sz="2000" b="1">
                <a:solidFill>
                  <a:schemeClr val="accent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79" name="Text Placeholder 54">
            <a:extLst>
              <a:ext uri="{FF2B5EF4-FFF2-40B4-BE49-F238E27FC236}">
                <a16:creationId xmlns:a16="http://schemas.microsoft.com/office/drawing/2014/main" id="{ED8DB56F-9C9A-4385-99B7-89FA6DE8A455}"/>
              </a:ext>
            </a:extLst>
          </p:cNvPr>
          <p:cNvSpPr>
            <a:spLocks noGrp="1"/>
          </p:cNvSpPr>
          <p:nvPr>
            <p:ph type="body" sz="quarter" idx="56" hasCustomPrompt="1"/>
          </p:nvPr>
        </p:nvSpPr>
        <p:spPr>
          <a:xfrm>
            <a:off x="6481175" y="3772356"/>
            <a:ext cx="2061906" cy="1888546"/>
          </a:xfrm>
        </p:spPr>
        <p:txBody>
          <a:bodyPr lIns="36000" rIns="36000">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82" name="Text Placeholder 48">
            <a:extLst>
              <a:ext uri="{FF2B5EF4-FFF2-40B4-BE49-F238E27FC236}">
                <a16:creationId xmlns:a16="http://schemas.microsoft.com/office/drawing/2014/main" id="{EFE3C20B-CA8A-4B63-B94A-544694E33F71}"/>
              </a:ext>
            </a:extLst>
          </p:cNvPr>
          <p:cNvSpPr>
            <a:spLocks noGrp="1"/>
          </p:cNvSpPr>
          <p:nvPr>
            <p:ph type="body" sz="quarter" idx="59" hasCustomPrompt="1"/>
          </p:nvPr>
        </p:nvSpPr>
        <p:spPr>
          <a:xfrm>
            <a:off x="3456142" y="2567311"/>
            <a:ext cx="2374438"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83" name="Text Placeholder 52">
            <a:extLst>
              <a:ext uri="{FF2B5EF4-FFF2-40B4-BE49-F238E27FC236}">
                <a16:creationId xmlns:a16="http://schemas.microsoft.com/office/drawing/2014/main" id="{5592A2BA-A980-4A97-93A1-38C6354B8BB7}"/>
              </a:ext>
            </a:extLst>
          </p:cNvPr>
          <p:cNvSpPr>
            <a:spLocks noGrp="1"/>
          </p:cNvSpPr>
          <p:nvPr>
            <p:ph type="body" sz="quarter" idx="60" hasCustomPrompt="1"/>
          </p:nvPr>
        </p:nvSpPr>
        <p:spPr>
          <a:xfrm>
            <a:off x="3612408" y="3290909"/>
            <a:ext cx="2061906" cy="472283"/>
          </a:xfrm>
        </p:spPr>
        <p:txBody>
          <a:bodyPr lIns="36000" rIns="36000">
            <a:normAutofit/>
          </a:bodyPr>
          <a:lstStyle>
            <a:lvl1pPr marL="0" indent="0">
              <a:buFont typeface="Arial" panose="020B0604020202020204" pitchFamily="34" charset="0"/>
              <a:buChar char="​"/>
              <a:defRPr sz="2000" b="1">
                <a:solidFill>
                  <a:schemeClr val="accent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84" name="Text Placeholder 54">
            <a:extLst>
              <a:ext uri="{FF2B5EF4-FFF2-40B4-BE49-F238E27FC236}">
                <a16:creationId xmlns:a16="http://schemas.microsoft.com/office/drawing/2014/main" id="{F2C09360-3ABD-4C8C-A98E-7324299FE710}"/>
              </a:ext>
            </a:extLst>
          </p:cNvPr>
          <p:cNvSpPr>
            <a:spLocks noGrp="1"/>
          </p:cNvSpPr>
          <p:nvPr>
            <p:ph type="body" sz="quarter" idx="61" hasCustomPrompt="1"/>
          </p:nvPr>
        </p:nvSpPr>
        <p:spPr>
          <a:xfrm>
            <a:off x="3612408" y="3772356"/>
            <a:ext cx="2061906" cy="1888546"/>
          </a:xfrm>
        </p:spPr>
        <p:txBody>
          <a:bodyPr lIns="36000" rIns="36000">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pPr lvl="0"/>
            <a:endParaRPr lang="en-US"/>
          </a:p>
        </p:txBody>
      </p:sp>
      <p:sp>
        <p:nvSpPr>
          <p:cNvPr id="31" name="Picture Placeholder 30">
            <a:extLst>
              <a:ext uri="{FF2B5EF4-FFF2-40B4-BE49-F238E27FC236}">
                <a16:creationId xmlns:a16="http://schemas.microsoft.com/office/drawing/2014/main" id="{88982096-4EEC-413C-8EA7-055D731D337C}"/>
              </a:ext>
            </a:extLst>
          </p:cNvPr>
          <p:cNvSpPr>
            <a:spLocks noGrp="1"/>
          </p:cNvSpPr>
          <p:nvPr>
            <p:ph type="pic" sz="quarter" idx="66" hasCustomPrompt="1"/>
          </p:nvPr>
        </p:nvSpPr>
        <p:spPr>
          <a:xfrm>
            <a:off x="736878" y="2641377"/>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a:t> Icon</a:t>
            </a:r>
            <a:endParaRPr lang="en-GB"/>
          </a:p>
        </p:txBody>
      </p:sp>
      <p:sp>
        <p:nvSpPr>
          <p:cNvPr id="32" name="Picture Placeholder 31">
            <a:extLst>
              <a:ext uri="{FF2B5EF4-FFF2-40B4-BE49-F238E27FC236}">
                <a16:creationId xmlns:a16="http://schemas.microsoft.com/office/drawing/2014/main" id="{A2097BEF-3663-49A4-8781-27E9446D3E12}"/>
              </a:ext>
            </a:extLst>
          </p:cNvPr>
          <p:cNvSpPr>
            <a:spLocks noGrp="1"/>
          </p:cNvSpPr>
          <p:nvPr>
            <p:ph type="pic" sz="quarter" idx="67" hasCustomPrompt="1"/>
          </p:nvPr>
        </p:nvSpPr>
        <p:spPr>
          <a:xfrm>
            <a:off x="3612408" y="2641377"/>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a:t> Icon</a:t>
            </a:r>
            <a:endParaRPr lang="en-GB"/>
          </a:p>
        </p:txBody>
      </p:sp>
      <p:sp>
        <p:nvSpPr>
          <p:cNvPr id="33" name="Picture Placeholder 32">
            <a:extLst>
              <a:ext uri="{FF2B5EF4-FFF2-40B4-BE49-F238E27FC236}">
                <a16:creationId xmlns:a16="http://schemas.microsoft.com/office/drawing/2014/main" id="{C8792866-7218-4AC9-ABA9-8D6C35CC9811}"/>
              </a:ext>
            </a:extLst>
          </p:cNvPr>
          <p:cNvSpPr>
            <a:spLocks noGrp="1"/>
          </p:cNvSpPr>
          <p:nvPr>
            <p:ph type="pic" sz="quarter" idx="68" hasCustomPrompt="1"/>
          </p:nvPr>
        </p:nvSpPr>
        <p:spPr>
          <a:xfrm>
            <a:off x="6481175" y="2641377"/>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a:t> Icon</a:t>
            </a:r>
            <a:endParaRPr lang="en-GB"/>
          </a:p>
        </p:txBody>
      </p:sp>
      <p:sp>
        <p:nvSpPr>
          <p:cNvPr id="34" name="Picture Placeholder 33">
            <a:extLst>
              <a:ext uri="{FF2B5EF4-FFF2-40B4-BE49-F238E27FC236}">
                <a16:creationId xmlns:a16="http://schemas.microsoft.com/office/drawing/2014/main" id="{76ACE892-40AA-4117-B0EA-00A3E508E67C}"/>
              </a:ext>
            </a:extLst>
          </p:cNvPr>
          <p:cNvSpPr>
            <a:spLocks noGrp="1"/>
          </p:cNvSpPr>
          <p:nvPr>
            <p:ph type="pic" sz="quarter" idx="69" hasCustomPrompt="1"/>
          </p:nvPr>
        </p:nvSpPr>
        <p:spPr>
          <a:xfrm>
            <a:off x="9349941" y="2641377"/>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a:t> Icon</a:t>
            </a:r>
            <a:endParaRPr lang="en-GB"/>
          </a:p>
        </p:txBody>
      </p:sp>
      <p:sp>
        <p:nvSpPr>
          <p:cNvPr id="26" name="Slide Number Placeholder 2">
            <a:extLst>
              <a:ext uri="{FF2B5EF4-FFF2-40B4-BE49-F238E27FC236}">
                <a16:creationId xmlns:a16="http://schemas.microsoft.com/office/drawing/2014/main" id="{3DC3CA8A-AA27-4DD8-9161-C9924DEA62BC}"/>
              </a:ext>
            </a:extLst>
          </p:cNvPr>
          <p:cNvSpPr txBox="1">
            <a:spLocks/>
          </p:cNvSpPr>
          <p:nvPr userDrawn="1"/>
        </p:nvSpPr>
        <p:spPr>
          <a:xfrm>
            <a:off x="11494008" y="6476999"/>
            <a:ext cx="382601" cy="228600"/>
          </a:xfrm>
          <a:prstGeom prst="rect">
            <a:avLst/>
          </a:prstGeom>
        </p:spPr>
        <p:txBody>
          <a:bodyPr vert="horz" lIns="91440" tIns="0" rIns="91440" bIns="0" rtlCol="0" anchor="ctr" anchorCtr="0"/>
          <a:lstStyle>
            <a:defPPr>
              <a:defRPr lang="en-US"/>
            </a:defPPr>
            <a:lvl1pPr algn="r">
              <a:defRPr sz="1000">
                <a:solidFill>
                  <a:srgbClr val="E0044E"/>
                </a:solidFill>
                <a:latin typeface="Segoe UI" panose="020B0502040204020203" pitchFamily="34" charset="0"/>
                <a:cs typeface="Segoe UI" panose="020B0502040204020203" pitchFamily="34" charset="0"/>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lvl="0"/>
            <a:fld id="{E20330FD-FE2A-483E-B0C7-29AD7FB3CAEB}" type="slidenum">
              <a:rPr lang="en-GB" noProof="0" smtClean="0">
                <a:solidFill>
                  <a:schemeClr val="bg1"/>
                </a:solidFill>
              </a:rPr>
              <a:pPr lvl="0"/>
              <a:t>‹#›</a:t>
            </a:fld>
            <a:endParaRPr lang="en-GB" noProof="0">
              <a:solidFill>
                <a:schemeClr val="bg1"/>
              </a:solidFill>
            </a:endParaRPr>
          </a:p>
        </p:txBody>
      </p:sp>
      <p:pic>
        <p:nvPicPr>
          <p:cNvPr id="27" name="Graphic 26">
            <a:extLst>
              <a:ext uri="{FF2B5EF4-FFF2-40B4-BE49-F238E27FC236}">
                <a16:creationId xmlns:a16="http://schemas.microsoft.com/office/drawing/2014/main" id="{78249AB5-473F-434F-B91D-533B820BF5E1}"/>
              </a:ext>
            </a:extLst>
          </p:cNvPr>
          <p:cNvPicPr>
            <a:picLocks/>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07040" y="6556248"/>
            <a:ext cx="813816" cy="82296"/>
          </a:xfrm>
          <a:prstGeom prst="rect">
            <a:avLst/>
          </a:prstGeom>
        </p:spPr>
      </p:pic>
    </p:spTree>
    <p:custDataLst>
      <p:tags r:id="rId1"/>
    </p:custDataLst>
    <p:extLst>
      <p:ext uri="{BB962C8B-B14F-4D97-AF65-F5344CB8AC3E}">
        <p14:creationId xmlns:p14="http://schemas.microsoft.com/office/powerpoint/2010/main" val="1389117652"/>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912E86-6E38-4F10-8E64-15B667979BB3}"/>
              </a:ext>
            </a:extLst>
          </p:cNvPr>
          <p:cNvGraphicFramePr>
            <a:graphicFrameLocks noChangeAspect="1"/>
          </p:cNvGraphicFramePr>
          <p:nvPr userDrawn="1">
            <p:custDataLst>
              <p:tags r:id="rId2"/>
            </p:custDataLst>
            <p:extLst>
              <p:ext uri="{D42A27DB-BD31-4B8C-83A1-F6EECF244321}">
                <p14:modId xmlns:p14="http://schemas.microsoft.com/office/powerpoint/2010/main" val="476803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EE912E86-6E38-4F10-8E64-15B667979B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36959F-2346-401A-BA9A-ED98F6034A4D}"/>
              </a:ext>
            </a:extLst>
          </p:cNvPr>
          <p:cNvSpPr>
            <a:spLocks noGrp="1"/>
          </p:cNvSpPr>
          <p:nvPr>
            <p:ph type="title" hasCustomPrompt="1"/>
          </p:nvPr>
        </p:nvSpPr>
        <p:spPr>
          <a:xfrm>
            <a:off x="587375" y="393192"/>
            <a:ext cx="10980738" cy="548640"/>
          </a:xfrm>
        </p:spPr>
        <p:txBody>
          <a:bodyPr vert="horz" anchor="ctr"/>
          <a:lstStyle>
            <a:lvl1pPr>
              <a:defRPr>
                <a:solidFill>
                  <a:schemeClr val="accent1"/>
                </a:solidFill>
              </a:defRPr>
            </a:lvl1pPr>
          </a:lstStyle>
          <a:p>
            <a:r>
              <a:rPr lang="en-US"/>
              <a:t>H1 placeholder.</a:t>
            </a:r>
            <a:endParaRPr lang="en-GB"/>
          </a:p>
        </p:txBody>
      </p:sp>
    </p:spTree>
    <p:custDataLst>
      <p:tags r:id="rId1"/>
    </p:custDataLst>
    <p:extLst>
      <p:ext uri="{BB962C8B-B14F-4D97-AF65-F5344CB8AC3E}">
        <p14:creationId xmlns:p14="http://schemas.microsoft.com/office/powerpoint/2010/main" val="41702791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and Content with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978AE68-5CE6-48A0-9F11-B80CF242D383}"/>
              </a:ext>
            </a:extLst>
          </p:cNvPr>
          <p:cNvGraphicFramePr>
            <a:graphicFrameLocks noChangeAspect="1"/>
          </p:cNvGraphicFramePr>
          <p:nvPr userDrawn="1">
            <p:custDataLst>
              <p:tags r:id="rId2"/>
            </p:custDataLst>
            <p:extLst>
              <p:ext uri="{D42A27DB-BD31-4B8C-83A1-F6EECF244321}">
                <p14:modId xmlns:p14="http://schemas.microsoft.com/office/powerpoint/2010/main" val="3982343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id="{1978AE68-5CE6-48A0-9F11-B80CF242D38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E260285C-69C9-4919-B7F7-165FF89CFDEC}"/>
              </a:ext>
            </a:extLst>
          </p:cNvPr>
          <p:cNvSpPr>
            <a:spLocks noGrp="1"/>
          </p:cNvSpPr>
          <p:nvPr>
            <p:ph type="title" hasCustomPrompt="1"/>
          </p:nvPr>
        </p:nvSpPr>
        <p:spPr>
          <a:xfrm>
            <a:off x="587376" y="393192"/>
            <a:ext cx="10980737" cy="548640"/>
          </a:xfrm>
        </p:spPr>
        <p:txBody>
          <a:bodyPr vert="horz" anchor="ctr">
            <a:noAutofit/>
          </a:bodyPr>
          <a:lstStyle>
            <a:lvl1pPr>
              <a:defRPr>
                <a:solidFill>
                  <a:schemeClr val="accent1"/>
                </a:solidFill>
              </a:defRPr>
            </a:lvl1pPr>
          </a:lstStyle>
          <a:p>
            <a:r>
              <a:rPr lang="en-US"/>
              <a:t>H1 placeholder.</a:t>
            </a:r>
            <a:endParaRPr lang="en-GB"/>
          </a:p>
        </p:txBody>
      </p:sp>
      <p:sp>
        <p:nvSpPr>
          <p:cNvPr id="7" name="Text Placeholder 6">
            <a:extLst>
              <a:ext uri="{FF2B5EF4-FFF2-40B4-BE49-F238E27FC236}">
                <a16:creationId xmlns:a16="http://schemas.microsoft.com/office/drawing/2014/main" id="{D472F869-0857-4E9E-956E-92A74599D8AD}"/>
              </a:ext>
            </a:extLst>
          </p:cNvPr>
          <p:cNvSpPr>
            <a:spLocks noGrp="1"/>
          </p:cNvSpPr>
          <p:nvPr>
            <p:ph type="body" sz="quarter" idx="19" hasCustomPrompt="1"/>
          </p:nvPr>
        </p:nvSpPr>
        <p:spPr>
          <a:xfrm>
            <a:off x="587375" y="950976"/>
            <a:ext cx="10980738" cy="456564"/>
          </a:xfrm>
        </p:spPr>
        <p:txBody>
          <a:bodyPr anchor="t">
            <a:normAutofit/>
          </a:bodyPr>
          <a:lstStyle>
            <a:lvl1pPr marL="0" indent="0">
              <a:buFontTx/>
              <a:buNone/>
              <a:defRPr sz="2000"/>
            </a:lvl1pPr>
          </a:lstStyle>
          <a:p>
            <a:pPr lvl="0"/>
            <a:r>
              <a:rPr lang="en-US"/>
              <a:t>Subtitle goes here</a:t>
            </a:r>
            <a:endParaRPr lang="en-IN"/>
          </a:p>
        </p:txBody>
      </p:sp>
    </p:spTree>
    <p:custDataLst>
      <p:tags r:id="rId1"/>
    </p:custDataLst>
    <p:extLst>
      <p:ext uri="{BB962C8B-B14F-4D97-AF65-F5344CB8AC3E}">
        <p14:creationId xmlns:p14="http://schemas.microsoft.com/office/powerpoint/2010/main" val="323332351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White/Purpl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C23B5A-31B6-4010-A422-FE5C68B4D90A}"/>
              </a:ext>
            </a:extLst>
          </p:cNvPr>
          <p:cNvGraphicFramePr>
            <a:graphicFrameLocks noChangeAspect="1"/>
          </p:cNvGraphicFramePr>
          <p:nvPr userDrawn="1">
            <p:custDataLst>
              <p:tags r:id="rId2"/>
            </p:custDataLst>
            <p:extLst>
              <p:ext uri="{D42A27DB-BD31-4B8C-83A1-F6EECF244321}">
                <p14:modId xmlns:p14="http://schemas.microsoft.com/office/powerpoint/2010/main" val="226414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6" name="Object 5" hidden="1">
                        <a:extLst>
                          <a:ext uri="{FF2B5EF4-FFF2-40B4-BE49-F238E27FC236}">
                            <a16:creationId xmlns:a16="http://schemas.microsoft.com/office/drawing/2014/main" id="{35C23B5A-31B6-4010-A422-FE5C68B4D9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90374356-2DEE-40D7-A5C3-76BE971FC02F}"/>
              </a:ext>
            </a:extLst>
          </p:cNvPr>
          <p:cNvSpPr>
            <a:spLocks noGrp="1"/>
          </p:cNvSpPr>
          <p:nvPr>
            <p:ph type="subTitle" idx="1" hasCustomPrompt="1"/>
          </p:nvPr>
        </p:nvSpPr>
        <p:spPr>
          <a:xfrm>
            <a:off x="603272" y="4227545"/>
            <a:ext cx="5140303" cy="1258455"/>
          </a:xfrm>
        </p:spPr>
        <p:txBody>
          <a:bodyPr lIns="0" rIns="0">
            <a:normAutofit/>
          </a:bodyPr>
          <a:lstStyle>
            <a:lvl1pPr marL="0" indent="0" algn="l">
              <a:buNone/>
              <a:defRPr sz="1600" b="0">
                <a:solidFill>
                  <a:schemeClr val="tx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p:txBody>
      </p:sp>
      <p:grpSp>
        <p:nvGrpSpPr>
          <p:cNvPr id="22" name="Group 21">
            <a:extLst>
              <a:ext uri="{FF2B5EF4-FFF2-40B4-BE49-F238E27FC236}">
                <a16:creationId xmlns:a16="http://schemas.microsoft.com/office/drawing/2014/main" id="{06D3E6A9-608F-4FEF-9318-50780452D43F}"/>
              </a:ext>
            </a:extLst>
          </p:cNvPr>
          <p:cNvGrpSpPr/>
          <p:nvPr userDrawn="1"/>
        </p:nvGrpSpPr>
        <p:grpSpPr>
          <a:xfrm>
            <a:off x="9848850" y="557074"/>
            <a:ext cx="1904999" cy="195571"/>
            <a:chOff x="9848850" y="557074"/>
            <a:chExt cx="1904999" cy="195571"/>
          </a:xfrm>
          <a:solidFill>
            <a:schemeClr val="tx1"/>
          </a:solidFill>
        </p:grpSpPr>
        <p:sp>
          <p:nvSpPr>
            <p:cNvPr id="4" name="Freeform: Shape 3">
              <a:extLst>
                <a:ext uri="{FF2B5EF4-FFF2-40B4-BE49-F238E27FC236}">
                  <a16:creationId xmlns:a16="http://schemas.microsoft.com/office/drawing/2014/main" id="{982B1A2E-3EC0-4B78-AB9A-10329041127E}"/>
                </a:ext>
              </a:extLst>
            </p:cNvPr>
            <p:cNvSpPr/>
            <p:nvPr/>
          </p:nvSpPr>
          <p:spPr>
            <a:xfrm>
              <a:off x="9848850" y="560843"/>
              <a:ext cx="122454" cy="188307"/>
            </a:xfrm>
            <a:custGeom>
              <a:avLst/>
              <a:gdLst>
                <a:gd name="connsiteX0" fmla="*/ 0 w 122454"/>
                <a:gd name="connsiteY0" fmla="*/ 0 h 188307"/>
                <a:gd name="connsiteX1" fmla="*/ 0 w 122454"/>
                <a:gd name="connsiteY1" fmla="*/ 188307 h 188307"/>
                <a:gd name="connsiteX2" fmla="*/ 122455 w 122454"/>
                <a:gd name="connsiteY2" fmla="*/ 188307 h 188307"/>
                <a:gd name="connsiteX3" fmla="*/ 122455 w 122454"/>
                <a:gd name="connsiteY3" fmla="*/ 157813 h 188307"/>
                <a:gd name="connsiteX4" fmla="*/ 33235 w 122454"/>
                <a:gd name="connsiteY4" fmla="*/ 157813 h 188307"/>
                <a:gd name="connsiteX5" fmla="*/ 33235 w 122454"/>
                <a:gd name="connsiteY5" fmla="*/ 112792 h 188307"/>
                <a:gd name="connsiteX6" fmla="*/ 114163 w 122454"/>
                <a:gd name="connsiteY6" fmla="*/ 112792 h 188307"/>
                <a:gd name="connsiteX7" fmla="*/ 114163 w 122454"/>
                <a:gd name="connsiteY7" fmla="*/ 83327 h 188307"/>
                <a:gd name="connsiteX8" fmla="*/ 33235 w 122454"/>
                <a:gd name="connsiteY8" fmla="*/ 83327 h 188307"/>
                <a:gd name="connsiteX9" fmla="*/ 33235 w 122454"/>
                <a:gd name="connsiteY9" fmla="*/ 30562 h 188307"/>
                <a:gd name="connsiteX10" fmla="*/ 122455 w 122454"/>
                <a:gd name="connsiteY10" fmla="*/ 30562 h 188307"/>
                <a:gd name="connsiteX11" fmla="*/ 122455 w 122454"/>
                <a:gd name="connsiteY11" fmla="*/ 0 h 188307"/>
                <a:gd name="connsiteX12" fmla="*/ 0 w 122454"/>
                <a:gd name="connsiteY12" fmla="*/ 0 h 18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07">
                  <a:moveTo>
                    <a:pt x="0" y="0"/>
                  </a:moveTo>
                  <a:lnTo>
                    <a:pt x="0" y="188307"/>
                  </a:lnTo>
                  <a:lnTo>
                    <a:pt x="122455" y="188307"/>
                  </a:lnTo>
                  <a:lnTo>
                    <a:pt x="122455" y="157813"/>
                  </a:lnTo>
                  <a:lnTo>
                    <a:pt x="33235" y="157813"/>
                  </a:lnTo>
                  <a:lnTo>
                    <a:pt x="33235" y="112792"/>
                  </a:lnTo>
                  <a:lnTo>
                    <a:pt x="114163" y="112792"/>
                  </a:lnTo>
                  <a:lnTo>
                    <a:pt x="114163" y="83327"/>
                  </a:lnTo>
                  <a:lnTo>
                    <a:pt x="33235" y="83327"/>
                  </a:lnTo>
                  <a:lnTo>
                    <a:pt x="33235" y="30562"/>
                  </a:lnTo>
                  <a:lnTo>
                    <a:pt x="122455" y="30562"/>
                  </a:lnTo>
                  <a:lnTo>
                    <a:pt x="122455" y="0"/>
                  </a:lnTo>
                  <a:lnTo>
                    <a:pt x="0" y="0"/>
                  </a:lnTo>
                  <a:close/>
                </a:path>
              </a:pathLst>
            </a:custGeom>
            <a:grpFill/>
            <a:ln w="6853"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CDEEB691-8710-4322-806E-E69F81A5E418}"/>
                </a:ext>
              </a:extLst>
            </p:cNvPr>
            <p:cNvSpPr/>
            <p:nvPr/>
          </p:nvSpPr>
          <p:spPr>
            <a:xfrm>
              <a:off x="9998097" y="560843"/>
              <a:ext cx="185908" cy="190705"/>
            </a:xfrm>
            <a:custGeom>
              <a:avLst/>
              <a:gdLst>
                <a:gd name="connsiteX0" fmla="*/ 151098 w 185908"/>
                <a:gd name="connsiteY0" fmla="*/ 0 h 190705"/>
                <a:gd name="connsiteX1" fmla="*/ 93263 w 185908"/>
                <a:gd name="connsiteY1" fmla="*/ 128622 h 190705"/>
                <a:gd name="connsiteX2" fmla="*/ 35633 w 185908"/>
                <a:gd name="connsiteY2" fmla="*/ 0 h 190705"/>
                <a:gd name="connsiteX3" fmla="*/ 0 w 185908"/>
                <a:gd name="connsiteY3" fmla="*/ 0 h 190705"/>
                <a:gd name="connsiteX4" fmla="*/ 87301 w 185908"/>
                <a:gd name="connsiteY4" fmla="*/ 190706 h 190705"/>
                <a:gd name="connsiteX5" fmla="*/ 98608 w 185908"/>
                <a:gd name="connsiteY5" fmla="*/ 190706 h 190705"/>
                <a:gd name="connsiteX6" fmla="*/ 185909 w 185908"/>
                <a:gd name="connsiteY6" fmla="*/ 0 h 190705"/>
                <a:gd name="connsiteX7" fmla="*/ 151098 w 185908"/>
                <a:gd name="connsiteY7" fmla="*/ 0 h 190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908" h="190705">
                  <a:moveTo>
                    <a:pt x="151098" y="0"/>
                  </a:moveTo>
                  <a:lnTo>
                    <a:pt x="93263" y="128622"/>
                  </a:lnTo>
                  <a:lnTo>
                    <a:pt x="35633" y="0"/>
                  </a:lnTo>
                  <a:lnTo>
                    <a:pt x="0" y="0"/>
                  </a:lnTo>
                  <a:lnTo>
                    <a:pt x="87301" y="190706"/>
                  </a:lnTo>
                  <a:lnTo>
                    <a:pt x="98608" y="190706"/>
                  </a:lnTo>
                  <a:lnTo>
                    <a:pt x="185909" y="0"/>
                  </a:lnTo>
                  <a:lnTo>
                    <a:pt x="151098" y="0"/>
                  </a:lnTo>
                  <a:close/>
                </a:path>
              </a:pathLst>
            </a:custGeom>
            <a:grpFill/>
            <a:ln w="6853"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290779BC-95C9-40DF-AA48-4CE05FA0B9EE}"/>
                </a:ext>
              </a:extLst>
            </p:cNvPr>
            <p:cNvSpPr/>
            <p:nvPr/>
          </p:nvSpPr>
          <p:spPr>
            <a:xfrm>
              <a:off x="10165231" y="559199"/>
              <a:ext cx="184606" cy="190020"/>
            </a:xfrm>
            <a:custGeom>
              <a:avLst/>
              <a:gdLst>
                <a:gd name="connsiteX0" fmla="*/ 90701 w 184606"/>
                <a:gd name="connsiteY0" fmla="*/ 60490 h 190020"/>
                <a:gd name="connsiteX1" fmla="*/ 119345 w 184606"/>
                <a:gd name="connsiteY1" fmla="*/ 125314 h 190020"/>
                <a:gd name="connsiteX2" fmla="*/ 61989 w 184606"/>
                <a:gd name="connsiteY2" fmla="*/ 125314 h 190020"/>
                <a:gd name="connsiteX3" fmla="*/ 87481 w 184606"/>
                <a:gd name="connsiteY3" fmla="*/ -635 h 190020"/>
                <a:gd name="connsiteX4" fmla="*/ -985 w 184606"/>
                <a:gd name="connsiteY4" fmla="*/ 189385 h 190020"/>
                <a:gd name="connsiteX5" fmla="*/ 33826 w 184606"/>
                <a:gd name="connsiteY5" fmla="*/ 189385 h 190020"/>
                <a:gd name="connsiteX6" fmla="*/ 50203 w 184606"/>
                <a:gd name="connsiteY6" fmla="*/ 151833 h 190020"/>
                <a:gd name="connsiteX7" fmla="*/ 131131 w 184606"/>
                <a:gd name="connsiteY7" fmla="*/ 151833 h 190020"/>
                <a:gd name="connsiteX8" fmla="*/ 147714 w 184606"/>
                <a:gd name="connsiteY8" fmla="*/ 189385 h 190020"/>
                <a:gd name="connsiteX9" fmla="*/ 183622 w 184606"/>
                <a:gd name="connsiteY9" fmla="*/ 189385 h 190020"/>
                <a:gd name="connsiteX10" fmla="*/ 95155 w 184606"/>
                <a:gd name="connsiteY10" fmla="*/ -635 h 19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4606" h="190020">
                  <a:moveTo>
                    <a:pt x="90701" y="60490"/>
                  </a:moveTo>
                  <a:lnTo>
                    <a:pt x="119345" y="125314"/>
                  </a:lnTo>
                  <a:lnTo>
                    <a:pt x="61989" y="125314"/>
                  </a:lnTo>
                  <a:close/>
                  <a:moveTo>
                    <a:pt x="87481" y="-635"/>
                  </a:moveTo>
                  <a:lnTo>
                    <a:pt x="-985" y="189385"/>
                  </a:lnTo>
                  <a:lnTo>
                    <a:pt x="33826" y="189385"/>
                  </a:lnTo>
                  <a:lnTo>
                    <a:pt x="50203" y="151833"/>
                  </a:lnTo>
                  <a:lnTo>
                    <a:pt x="131131" y="151833"/>
                  </a:lnTo>
                  <a:lnTo>
                    <a:pt x="147714" y="189385"/>
                  </a:lnTo>
                  <a:lnTo>
                    <a:pt x="183622" y="189385"/>
                  </a:lnTo>
                  <a:lnTo>
                    <a:pt x="95155" y="-635"/>
                  </a:lnTo>
                  <a:close/>
                </a:path>
              </a:pathLst>
            </a:custGeom>
            <a:grpFill/>
            <a:ln w="6853"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BA4860F-3F0D-4929-8566-E5959309DE7F}"/>
                </a:ext>
              </a:extLst>
            </p:cNvPr>
            <p:cNvSpPr/>
            <p:nvPr/>
          </p:nvSpPr>
          <p:spPr>
            <a:xfrm>
              <a:off x="10381222" y="560843"/>
              <a:ext cx="122385" cy="188307"/>
            </a:xfrm>
            <a:custGeom>
              <a:avLst/>
              <a:gdLst>
                <a:gd name="connsiteX0" fmla="*/ 0 w 122385"/>
                <a:gd name="connsiteY0" fmla="*/ 0 h 188307"/>
                <a:gd name="connsiteX1" fmla="*/ 0 w 122385"/>
                <a:gd name="connsiteY1" fmla="*/ 188307 h 188307"/>
                <a:gd name="connsiteX2" fmla="*/ 122386 w 122385"/>
                <a:gd name="connsiteY2" fmla="*/ 188307 h 188307"/>
                <a:gd name="connsiteX3" fmla="*/ 122386 w 122385"/>
                <a:gd name="connsiteY3" fmla="*/ 157813 h 188307"/>
                <a:gd name="connsiteX4" fmla="*/ 33166 w 122385"/>
                <a:gd name="connsiteY4" fmla="*/ 157813 h 188307"/>
                <a:gd name="connsiteX5" fmla="*/ 33166 w 122385"/>
                <a:gd name="connsiteY5" fmla="*/ 0 h 188307"/>
                <a:gd name="connsiteX6" fmla="*/ 0 w 122385"/>
                <a:gd name="connsiteY6" fmla="*/ 0 h 18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85" h="188307">
                  <a:moveTo>
                    <a:pt x="0" y="0"/>
                  </a:moveTo>
                  <a:lnTo>
                    <a:pt x="0" y="188307"/>
                  </a:lnTo>
                  <a:lnTo>
                    <a:pt x="122386" y="188307"/>
                  </a:lnTo>
                  <a:lnTo>
                    <a:pt x="122386" y="157813"/>
                  </a:lnTo>
                  <a:lnTo>
                    <a:pt x="33166" y="157813"/>
                  </a:lnTo>
                  <a:lnTo>
                    <a:pt x="33166" y="0"/>
                  </a:lnTo>
                  <a:lnTo>
                    <a:pt x="0" y="0"/>
                  </a:lnTo>
                  <a:close/>
                </a:path>
              </a:pathLst>
            </a:custGeom>
            <a:grpFill/>
            <a:ln w="6853"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B12E63F6-4AED-4FCC-B839-0821E5C1D558}"/>
                </a:ext>
              </a:extLst>
            </p:cNvPr>
            <p:cNvSpPr/>
            <p:nvPr/>
          </p:nvSpPr>
          <p:spPr>
            <a:xfrm>
              <a:off x="10530744" y="560844"/>
              <a:ext cx="157059" cy="191801"/>
            </a:xfrm>
            <a:custGeom>
              <a:avLst/>
              <a:gdLst>
                <a:gd name="connsiteX0" fmla="*/ -985 w 157059"/>
                <a:gd name="connsiteY0" fmla="*/ -635 h 191801"/>
                <a:gd name="connsiteX1" fmla="*/ 32250 w 157059"/>
                <a:gd name="connsiteY1" fmla="*/ -635 h 191801"/>
                <a:gd name="connsiteX2" fmla="*/ 32250 w 157059"/>
                <a:gd name="connsiteY2" fmla="*/ 109759 h 191801"/>
                <a:gd name="connsiteX3" fmla="*/ 76997 w 157059"/>
                <a:gd name="connsiteY3" fmla="*/ 160673 h 191801"/>
                <a:gd name="connsiteX4" fmla="*/ 122840 w 157059"/>
                <a:gd name="connsiteY4" fmla="*/ 109484 h 191801"/>
                <a:gd name="connsiteX5" fmla="*/ 122840 w 157059"/>
                <a:gd name="connsiteY5" fmla="*/ -635 h 191801"/>
                <a:gd name="connsiteX6" fmla="*/ 156074 w 157059"/>
                <a:gd name="connsiteY6" fmla="*/ -635 h 191801"/>
                <a:gd name="connsiteX7" fmla="*/ 156074 w 157059"/>
                <a:gd name="connsiteY7" fmla="*/ 109759 h 191801"/>
                <a:gd name="connsiteX8" fmla="*/ 76997 w 157059"/>
                <a:gd name="connsiteY8" fmla="*/ 191167 h 191801"/>
                <a:gd name="connsiteX9" fmla="*/ -985 w 157059"/>
                <a:gd name="connsiteY9" fmla="*/ 109759 h 19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059" h="191801">
                  <a:moveTo>
                    <a:pt x="-985" y="-635"/>
                  </a:moveTo>
                  <a:lnTo>
                    <a:pt x="32250" y="-635"/>
                  </a:lnTo>
                  <a:lnTo>
                    <a:pt x="32250" y="109759"/>
                  </a:lnTo>
                  <a:cubicBezTo>
                    <a:pt x="32250" y="145666"/>
                    <a:pt x="48627" y="160673"/>
                    <a:pt x="76997" y="160673"/>
                  </a:cubicBezTo>
                  <a:cubicBezTo>
                    <a:pt x="105366" y="160673"/>
                    <a:pt x="122840" y="145666"/>
                    <a:pt x="122840" y="109484"/>
                  </a:cubicBezTo>
                  <a:lnTo>
                    <a:pt x="122840" y="-635"/>
                  </a:lnTo>
                  <a:lnTo>
                    <a:pt x="156074" y="-635"/>
                  </a:lnTo>
                  <a:lnTo>
                    <a:pt x="156074" y="109759"/>
                  </a:lnTo>
                  <a:cubicBezTo>
                    <a:pt x="156074" y="166018"/>
                    <a:pt x="124142" y="191167"/>
                    <a:pt x="76997" y="191167"/>
                  </a:cubicBezTo>
                  <a:cubicBezTo>
                    <a:pt x="29851" y="191167"/>
                    <a:pt x="-985" y="166018"/>
                    <a:pt x="-985" y="109759"/>
                  </a:cubicBezTo>
                  <a:close/>
                </a:path>
              </a:pathLst>
            </a:custGeom>
            <a:grpFill/>
            <a:ln w="6853"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89E35D2B-5F84-4B67-AC50-4C6225985947}"/>
                </a:ext>
              </a:extLst>
            </p:cNvPr>
            <p:cNvSpPr/>
            <p:nvPr/>
          </p:nvSpPr>
          <p:spPr>
            <a:xfrm>
              <a:off x="10738717" y="560432"/>
              <a:ext cx="122454" cy="188375"/>
            </a:xfrm>
            <a:custGeom>
              <a:avLst/>
              <a:gdLst>
                <a:gd name="connsiteX0" fmla="*/ 0 w 122454"/>
                <a:gd name="connsiteY0" fmla="*/ 0 h 188375"/>
                <a:gd name="connsiteX1" fmla="*/ 0 w 122454"/>
                <a:gd name="connsiteY1" fmla="*/ 188376 h 188375"/>
                <a:gd name="connsiteX2" fmla="*/ 122454 w 122454"/>
                <a:gd name="connsiteY2" fmla="*/ 188376 h 188375"/>
                <a:gd name="connsiteX3" fmla="*/ 122454 w 122454"/>
                <a:gd name="connsiteY3" fmla="*/ 157813 h 188375"/>
                <a:gd name="connsiteX4" fmla="*/ 33235 w 122454"/>
                <a:gd name="connsiteY4" fmla="*/ 157813 h 188375"/>
                <a:gd name="connsiteX5" fmla="*/ 33235 w 122454"/>
                <a:gd name="connsiteY5" fmla="*/ 112792 h 188375"/>
                <a:gd name="connsiteX6" fmla="*/ 114094 w 122454"/>
                <a:gd name="connsiteY6" fmla="*/ 112792 h 188375"/>
                <a:gd name="connsiteX7" fmla="*/ 114094 w 122454"/>
                <a:gd name="connsiteY7" fmla="*/ 83327 h 188375"/>
                <a:gd name="connsiteX8" fmla="*/ 33235 w 122454"/>
                <a:gd name="connsiteY8" fmla="*/ 83327 h 188375"/>
                <a:gd name="connsiteX9" fmla="*/ 33235 w 122454"/>
                <a:gd name="connsiteY9" fmla="*/ 30562 h 188375"/>
                <a:gd name="connsiteX10" fmla="*/ 122454 w 122454"/>
                <a:gd name="connsiteY10" fmla="*/ 30562 h 188375"/>
                <a:gd name="connsiteX11" fmla="*/ 122454 w 122454"/>
                <a:gd name="connsiteY11" fmla="*/ 0 h 188375"/>
                <a:gd name="connsiteX12" fmla="*/ 0 w 122454"/>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75">
                  <a:moveTo>
                    <a:pt x="0" y="0"/>
                  </a:moveTo>
                  <a:lnTo>
                    <a:pt x="0" y="188376"/>
                  </a:lnTo>
                  <a:lnTo>
                    <a:pt x="122454" y="188376"/>
                  </a:lnTo>
                  <a:lnTo>
                    <a:pt x="122454" y="157813"/>
                  </a:lnTo>
                  <a:lnTo>
                    <a:pt x="33235" y="157813"/>
                  </a:lnTo>
                  <a:lnTo>
                    <a:pt x="33235" y="112792"/>
                  </a:lnTo>
                  <a:lnTo>
                    <a:pt x="114094" y="112792"/>
                  </a:lnTo>
                  <a:lnTo>
                    <a:pt x="114094" y="83327"/>
                  </a:lnTo>
                  <a:lnTo>
                    <a:pt x="33235" y="83327"/>
                  </a:lnTo>
                  <a:lnTo>
                    <a:pt x="33235" y="30562"/>
                  </a:lnTo>
                  <a:lnTo>
                    <a:pt x="122454" y="30562"/>
                  </a:lnTo>
                  <a:lnTo>
                    <a:pt x="122454" y="0"/>
                  </a:lnTo>
                  <a:lnTo>
                    <a:pt x="0" y="0"/>
                  </a:lnTo>
                  <a:close/>
                </a:path>
              </a:pathLst>
            </a:custGeom>
            <a:grpFill/>
            <a:ln w="6853"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0EF39E0A-23A7-4A8E-BDFE-97F0DF77FD04}"/>
                </a:ext>
              </a:extLst>
            </p:cNvPr>
            <p:cNvSpPr/>
            <p:nvPr/>
          </p:nvSpPr>
          <p:spPr>
            <a:xfrm>
              <a:off x="10903178" y="557074"/>
              <a:ext cx="128896" cy="194954"/>
            </a:xfrm>
            <a:custGeom>
              <a:avLst/>
              <a:gdLst>
                <a:gd name="connsiteX0" fmla="*/ 60688 w 128896"/>
                <a:gd name="connsiteY0" fmla="*/ 194319 h 194954"/>
                <a:gd name="connsiteX1" fmla="*/ -985 w 128896"/>
                <a:gd name="connsiteY1" fmla="*/ 176366 h 194954"/>
                <a:gd name="connsiteX2" fmla="*/ 10528 w 128896"/>
                <a:gd name="connsiteY2" fmla="*/ 146352 h 194954"/>
                <a:gd name="connsiteX3" fmla="*/ 61716 w 128896"/>
                <a:gd name="connsiteY3" fmla="*/ 163209 h 194954"/>
                <a:gd name="connsiteX4" fmla="*/ 94060 w 128896"/>
                <a:gd name="connsiteY4" fmla="*/ 140185 h 194954"/>
                <a:gd name="connsiteX5" fmla="*/ 52944 w 128896"/>
                <a:gd name="connsiteY5" fmla="*/ 107498 h 194954"/>
                <a:gd name="connsiteX6" fmla="*/ 3607 w 128896"/>
                <a:gd name="connsiteY6" fmla="*/ 54185 h 194954"/>
                <a:gd name="connsiteX7" fmla="*/ 66855 w 128896"/>
                <a:gd name="connsiteY7" fmla="*/ -635 h 194954"/>
                <a:gd name="connsiteX8" fmla="*/ 118797 w 128896"/>
                <a:gd name="connsiteY8" fmla="*/ 12248 h 194954"/>
                <a:gd name="connsiteX9" fmla="*/ 108108 w 128896"/>
                <a:gd name="connsiteY9" fmla="*/ 41713 h 194954"/>
                <a:gd name="connsiteX10" fmla="*/ 66033 w 128896"/>
                <a:gd name="connsiteY10" fmla="*/ 29105 h 194954"/>
                <a:gd name="connsiteX11" fmla="*/ 37116 w 128896"/>
                <a:gd name="connsiteY11" fmla="*/ 53226 h 194954"/>
                <a:gd name="connsiteX12" fmla="*/ 73776 w 128896"/>
                <a:gd name="connsiteY12" fmla="*/ 82417 h 194954"/>
                <a:gd name="connsiteX13" fmla="*/ 127911 w 128896"/>
                <a:gd name="connsiteY13" fmla="*/ 140047 h 194954"/>
                <a:gd name="connsiteX14" fmla="*/ 60413 w 128896"/>
                <a:gd name="connsiteY14" fmla="*/ 194182 h 194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8896" h="194954">
                  <a:moveTo>
                    <a:pt x="60688" y="194319"/>
                  </a:moveTo>
                  <a:cubicBezTo>
                    <a:pt x="38896" y="193949"/>
                    <a:pt x="17585" y="187748"/>
                    <a:pt x="-985" y="176366"/>
                  </a:cubicBezTo>
                  <a:lnTo>
                    <a:pt x="10528" y="146352"/>
                  </a:lnTo>
                  <a:cubicBezTo>
                    <a:pt x="25603" y="156747"/>
                    <a:pt x="43419" y="162599"/>
                    <a:pt x="61716" y="163209"/>
                  </a:cubicBezTo>
                  <a:cubicBezTo>
                    <a:pt x="83918" y="163209"/>
                    <a:pt x="94060" y="152245"/>
                    <a:pt x="94060" y="140185"/>
                  </a:cubicBezTo>
                  <a:cubicBezTo>
                    <a:pt x="94060" y="128124"/>
                    <a:pt x="87207" y="120038"/>
                    <a:pt x="52944" y="107498"/>
                  </a:cubicBezTo>
                  <a:cubicBezTo>
                    <a:pt x="16215" y="93793"/>
                    <a:pt x="3607" y="76662"/>
                    <a:pt x="3607" y="54185"/>
                  </a:cubicBezTo>
                  <a:cubicBezTo>
                    <a:pt x="3607" y="25747"/>
                    <a:pt x="26631" y="-635"/>
                    <a:pt x="66855" y="-635"/>
                  </a:cubicBezTo>
                  <a:cubicBezTo>
                    <a:pt x="84946" y="-669"/>
                    <a:pt x="102831" y="3757"/>
                    <a:pt x="118797" y="12248"/>
                  </a:cubicBezTo>
                  <a:lnTo>
                    <a:pt x="108108" y="41713"/>
                  </a:lnTo>
                  <a:cubicBezTo>
                    <a:pt x="95293" y="34265"/>
                    <a:pt x="80834" y="29948"/>
                    <a:pt x="66033" y="29105"/>
                  </a:cubicBezTo>
                  <a:cubicBezTo>
                    <a:pt x="46229" y="29105"/>
                    <a:pt x="37116" y="40138"/>
                    <a:pt x="37116" y="53226"/>
                  </a:cubicBezTo>
                  <a:cubicBezTo>
                    <a:pt x="37116" y="66314"/>
                    <a:pt x="47257" y="72824"/>
                    <a:pt x="73776" y="82417"/>
                  </a:cubicBezTo>
                  <a:cubicBezTo>
                    <a:pt x="115851" y="98795"/>
                    <a:pt x="127911" y="115378"/>
                    <a:pt x="127911" y="140047"/>
                  </a:cubicBezTo>
                  <a:cubicBezTo>
                    <a:pt x="127911" y="173556"/>
                    <a:pt x="102488" y="194182"/>
                    <a:pt x="60413" y="194182"/>
                  </a:cubicBezTo>
                </a:path>
              </a:pathLst>
            </a:custGeom>
            <a:grpFill/>
            <a:ln w="6853"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F46E1330-2734-4879-8F37-EB6C19D791BB}"/>
                </a:ext>
              </a:extLst>
            </p:cNvPr>
            <p:cNvSpPr/>
            <p:nvPr/>
          </p:nvSpPr>
          <p:spPr>
            <a:xfrm>
              <a:off x="11078876" y="560432"/>
              <a:ext cx="122523" cy="188375"/>
            </a:xfrm>
            <a:custGeom>
              <a:avLst/>
              <a:gdLst>
                <a:gd name="connsiteX0" fmla="*/ 0 w 122523"/>
                <a:gd name="connsiteY0" fmla="*/ 0 h 188375"/>
                <a:gd name="connsiteX1" fmla="*/ 0 w 122523"/>
                <a:gd name="connsiteY1" fmla="*/ 188376 h 188375"/>
                <a:gd name="connsiteX2" fmla="*/ 122523 w 122523"/>
                <a:gd name="connsiteY2" fmla="*/ 188376 h 188375"/>
                <a:gd name="connsiteX3" fmla="*/ 122523 w 122523"/>
                <a:gd name="connsiteY3" fmla="*/ 157813 h 188375"/>
                <a:gd name="connsiteX4" fmla="*/ 33303 w 122523"/>
                <a:gd name="connsiteY4" fmla="*/ 157813 h 188375"/>
                <a:gd name="connsiteX5" fmla="*/ 33303 w 122523"/>
                <a:gd name="connsiteY5" fmla="*/ 112792 h 188375"/>
                <a:gd name="connsiteX6" fmla="*/ 114163 w 122523"/>
                <a:gd name="connsiteY6" fmla="*/ 112792 h 188375"/>
                <a:gd name="connsiteX7" fmla="*/ 114163 w 122523"/>
                <a:gd name="connsiteY7" fmla="*/ 83327 h 188375"/>
                <a:gd name="connsiteX8" fmla="*/ 33303 w 122523"/>
                <a:gd name="connsiteY8" fmla="*/ 83327 h 188375"/>
                <a:gd name="connsiteX9" fmla="*/ 33303 w 122523"/>
                <a:gd name="connsiteY9" fmla="*/ 30562 h 188375"/>
                <a:gd name="connsiteX10" fmla="*/ 122523 w 122523"/>
                <a:gd name="connsiteY10" fmla="*/ 30562 h 188375"/>
                <a:gd name="connsiteX11" fmla="*/ 122523 w 122523"/>
                <a:gd name="connsiteY11" fmla="*/ 0 h 188375"/>
                <a:gd name="connsiteX12" fmla="*/ 0 w 122523"/>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523" h="188375">
                  <a:moveTo>
                    <a:pt x="0" y="0"/>
                  </a:moveTo>
                  <a:lnTo>
                    <a:pt x="0" y="188376"/>
                  </a:lnTo>
                  <a:lnTo>
                    <a:pt x="122523" y="188376"/>
                  </a:lnTo>
                  <a:lnTo>
                    <a:pt x="122523" y="157813"/>
                  </a:lnTo>
                  <a:lnTo>
                    <a:pt x="33303" y="157813"/>
                  </a:lnTo>
                  <a:lnTo>
                    <a:pt x="33303" y="112792"/>
                  </a:lnTo>
                  <a:lnTo>
                    <a:pt x="114163" y="112792"/>
                  </a:lnTo>
                  <a:lnTo>
                    <a:pt x="114163" y="83327"/>
                  </a:lnTo>
                  <a:lnTo>
                    <a:pt x="33303" y="83327"/>
                  </a:lnTo>
                  <a:lnTo>
                    <a:pt x="33303" y="30562"/>
                  </a:lnTo>
                  <a:lnTo>
                    <a:pt x="122523" y="30562"/>
                  </a:lnTo>
                  <a:lnTo>
                    <a:pt x="122523" y="0"/>
                  </a:lnTo>
                  <a:lnTo>
                    <a:pt x="0" y="0"/>
                  </a:lnTo>
                  <a:close/>
                </a:path>
              </a:pathLst>
            </a:custGeom>
            <a:grpFill/>
            <a:ln w="6853"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32ED1C32-8954-4DC5-8742-722004C6AC5D}"/>
                </a:ext>
              </a:extLst>
            </p:cNvPr>
            <p:cNvSpPr/>
            <p:nvPr/>
          </p:nvSpPr>
          <p:spPr>
            <a:xfrm>
              <a:off x="11251971" y="560432"/>
              <a:ext cx="148767" cy="189412"/>
            </a:xfrm>
            <a:custGeom>
              <a:avLst/>
              <a:gdLst>
                <a:gd name="connsiteX0" fmla="*/ 32250 w 148767"/>
                <a:gd name="connsiteY0" fmla="*/ 29927 h 189412"/>
                <a:gd name="connsiteX1" fmla="*/ 32250 w 148767"/>
                <a:gd name="connsiteY1" fmla="*/ 103592 h 189412"/>
                <a:gd name="connsiteX2" fmla="*/ 56919 w 148767"/>
                <a:gd name="connsiteY2" fmla="*/ 103592 h 189412"/>
                <a:gd name="connsiteX3" fmla="*/ 98719 w 148767"/>
                <a:gd name="connsiteY3" fmla="*/ 66383 h 189412"/>
                <a:gd name="connsiteX4" fmla="*/ 56919 w 148767"/>
                <a:gd name="connsiteY4" fmla="*/ 29927 h 189412"/>
                <a:gd name="connsiteX5" fmla="*/ -985 w 148767"/>
                <a:gd name="connsiteY5" fmla="*/ -635 h 189412"/>
                <a:gd name="connsiteX6" fmla="*/ 59317 w 148767"/>
                <a:gd name="connsiteY6" fmla="*/ -635 h 189412"/>
                <a:gd name="connsiteX7" fmla="*/ 134694 w 148767"/>
                <a:gd name="connsiteY7" fmla="*/ 66383 h 189412"/>
                <a:gd name="connsiteX8" fmla="*/ 99610 w 148767"/>
                <a:gd name="connsiteY8" fmla="*/ 125862 h 189412"/>
                <a:gd name="connsiteX9" fmla="*/ 140314 w 148767"/>
                <a:gd name="connsiteY9" fmla="*/ 157727 h 189412"/>
                <a:gd name="connsiteX10" fmla="*/ 147783 w 148767"/>
                <a:gd name="connsiteY10" fmla="*/ 157727 h 189412"/>
                <a:gd name="connsiteX11" fmla="*/ 147783 w 148767"/>
                <a:gd name="connsiteY11" fmla="*/ 187192 h 189412"/>
                <a:gd name="connsiteX12" fmla="*/ 129829 w 148767"/>
                <a:gd name="connsiteY12" fmla="*/ 188768 h 189412"/>
                <a:gd name="connsiteX13" fmla="*/ 62880 w 148767"/>
                <a:gd name="connsiteY13" fmla="*/ 132783 h 189412"/>
                <a:gd name="connsiteX14" fmla="*/ 52944 w 148767"/>
                <a:gd name="connsiteY14" fmla="*/ 132783 h 189412"/>
                <a:gd name="connsiteX15" fmla="*/ 32387 w 148767"/>
                <a:gd name="connsiteY15" fmla="*/ 132783 h 189412"/>
                <a:gd name="connsiteX16" fmla="*/ 32387 w 148767"/>
                <a:gd name="connsiteY16" fmla="*/ 187604 h 189412"/>
                <a:gd name="connsiteX17" fmla="*/ -848 w 148767"/>
                <a:gd name="connsiteY17" fmla="*/ 187604 h 189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8767" h="189412">
                  <a:moveTo>
                    <a:pt x="32250" y="29927"/>
                  </a:moveTo>
                  <a:lnTo>
                    <a:pt x="32250" y="103592"/>
                  </a:lnTo>
                  <a:lnTo>
                    <a:pt x="56919" y="103592"/>
                  </a:lnTo>
                  <a:cubicBezTo>
                    <a:pt x="87961" y="103592"/>
                    <a:pt x="98719" y="87009"/>
                    <a:pt x="98719" y="66383"/>
                  </a:cubicBezTo>
                  <a:cubicBezTo>
                    <a:pt x="98719" y="45756"/>
                    <a:pt x="88235" y="29927"/>
                    <a:pt x="56919" y="29927"/>
                  </a:cubicBezTo>
                  <a:close/>
                  <a:moveTo>
                    <a:pt x="-985" y="-635"/>
                  </a:moveTo>
                  <a:lnTo>
                    <a:pt x="59317" y="-635"/>
                  </a:lnTo>
                  <a:cubicBezTo>
                    <a:pt x="109409" y="-635"/>
                    <a:pt x="134694" y="26775"/>
                    <a:pt x="134694" y="66383"/>
                  </a:cubicBezTo>
                  <a:cubicBezTo>
                    <a:pt x="134832" y="91154"/>
                    <a:pt x="121332" y="113994"/>
                    <a:pt x="99610" y="125862"/>
                  </a:cubicBezTo>
                  <a:cubicBezTo>
                    <a:pt x="113795" y="138128"/>
                    <a:pt x="117769" y="157727"/>
                    <a:pt x="140314" y="157727"/>
                  </a:cubicBezTo>
                  <a:lnTo>
                    <a:pt x="147783" y="157727"/>
                  </a:lnTo>
                  <a:lnTo>
                    <a:pt x="147783" y="187192"/>
                  </a:lnTo>
                  <a:cubicBezTo>
                    <a:pt x="141890" y="188323"/>
                    <a:pt x="135860" y="188851"/>
                    <a:pt x="129829" y="188768"/>
                  </a:cubicBezTo>
                  <a:cubicBezTo>
                    <a:pt x="82958" y="188768"/>
                    <a:pt x="85631" y="145666"/>
                    <a:pt x="62880" y="132783"/>
                  </a:cubicBezTo>
                  <a:cubicBezTo>
                    <a:pt x="59660" y="132783"/>
                    <a:pt x="56439" y="132783"/>
                    <a:pt x="52944" y="132783"/>
                  </a:cubicBezTo>
                  <a:lnTo>
                    <a:pt x="32387" y="132783"/>
                  </a:lnTo>
                  <a:lnTo>
                    <a:pt x="32387" y="187604"/>
                  </a:lnTo>
                  <a:lnTo>
                    <a:pt x="-848" y="187604"/>
                  </a:lnTo>
                  <a:close/>
                </a:path>
              </a:pathLst>
            </a:custGeom>
            <a:grpFill/>
            <a:ln w="6853"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4D9BA3F8-B706-48D2-84A5-BAF60046424E}"/>
                </a:ext>
              </a:extLst>
            </p:cNvPr>
            <p:cNvSpPr/>
            <p:nvPr/>
          </p:nvSpPr>
          <p:spPr>
            <a:xfrm>
              <a:off x="11411155" y="560432"/>
              <a:ext cx="185977" cy="190774"/>
            </a:xfrm>
            <a:custGeom>
              <a:avLst/>
              <a:gdLst>
                <a:gd name="connsiteX0" fmla="*/ 151098 w 185977"/>
                <a:gd name="connsiteY0" fmla="*/ 0 h 190774"/>
                <a:gd name="connsiteX1" fmla="*/ 93263 w 185977"/>
                <a:gd name="connsiteY1" fmla="*/ 128622 h 190774"/>
                <a:gd name="connsiteX2" fmla="*/ 35633 w 185977"/>
                <a:gd name="connsiteY2" fmla="*/ 0 h 190774"/>
                <a:gd name="connsiteX3" fmla="*/ 0 w 185977"/>
                <a:gd name="connsiteY3" fmla="*/ 0 h 190774"/>
                <a:gd name="connsiteX4" fmla="*/ 87370 w 185977"/>
                <a:gd name="connsiteY4" fmla="*/ 190774 h 190774"/>
                <a:gd name="connsiteX5" fmla="*/ 98608 w 185977"/>
                <a:gd name="connsiteY5" fmla="*/ 190774 h 190774"/>
                <a:gd name="connsiteX6" fmla="*/ 185977 w 185977"/>
                <a:gd name="connsiteY6" fmla="*/ 0 h 190774"/>
                <a:gd name="connsiteX7" fmla="*/ 151098 w 185977"/>
                <a:gd name="connsiteY7" fmla="*/ 0 h 19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977" h="190774">
                  <a:moveTo>
                    <a:pt x="151098" y="0"/>
                  </a:moveTo>
                  <a:lnTo>
                    <a:pt x="93263" y="128622"/>
                  </a:lnTo>
                  <a:lnTo>
                    <a:pt x="35633" y="0"/>
                  </a:lnTo>
                  <a:lnTo>
                    <a:pt x="0" y="0"/>
                  </a:lnTo>
                  <a:lnTo>
                    <a:pt x="87370" y="190774"/>
                  </a:lnTo>
                  <a:lnTo>
                    <a:pt x="98608" y="190774"/>
                  </a:lnTo>
                  <a:lnTo>
                    <a:pt x="185977" y="0"/>
                  </a:lnTo>
                  <a:lnTo>
                    <a:pt x="151098" y="0"/>
                  </a:lnTo>
                  <a:close/>
                </a:path>
              </a:pathLst>
            </a:custGeom>
            <a:grpFill/>
            <a:ln w="6853"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34C49746-C7B2-49F5-9848-5ED10587F0C5}"/>
                </a:ext>
              </a:extLst>
            </p:cNvPr>
            <p:cNvSpPr/>
            <p:nvPr/>
          </p:nvSpPr>
          <p:spPr>
            <a:xfrm>
              <a:off x="11631395" y="560432"/>
              <a:ext cx="122454" cy="188375"/>
            </a:xfrm>
            <a:custGeom>
              <a:avLst/>
              <a:gdLst>
                <a:gd name="connsiteX0" fmla="*/ 0 w 122454"/>
                <a:gd name="connsiteY0" fmla="*/ 0 h 188375"/>
                <a:gd name="connsiteX1" fmla="*/ 0 w 122454"/>
                <a:gd name="connsiteY1" fmla="*/ 188376 h 188375"/>
                <a:gd name="connsiteX2" fmla="*/ 122454 w 122454"/>
                <a:gd name="connsiteY2" fmla="*/ 188376 h 188375"/>
                <a:gd name="connsiteX3" fmla="*/ 122454 w 122454"/>
                <a:gd name="connsiteY3" fmla="*/ 157813 h 188375"/>
                <a:gd name="connsiteX4" fmla="*/ 33235 w 122454"/>
                <a:gd name="connsiteY4" fmla="*/ 157813 h 188375"/>
                <a:gd name="connsiteX5" fmla="*/ 33235 w 122454"/>
                <a:gd name="connsiteY5" fmla="*/ 112792 h 188375"/>
                <a:gd name="connsiteX6" fmla="*/ 114163 w 122454"/>
                <a:gd name="connsiteY6" fmla="*/ 112792 h 188375"/>
                <a:gd name="connsiteX7" fmla="*/ 114163 w 122454"/>
                <a:gd name="connsiteY7" fmla="*/ 83327 h 188375"/>
                <a:gd name="connsiteX8" fmla="*/ 33235 w 122454"/>
                <a:gd name="connsiteY8" fmla="*/ 83327 h 188375"/>
                <a:gd name="connsiteX9" fmla="*/ 33235 w 122454"/>
                <a:gd name="connsiteY9" fmla="*/ 30562 h 188375"/>
                <a:gd name="connsiteX10" fmla="*/ 122454 w 122454"/>
                <a:gd name="connsiteY10" fmla="*/ 30562 h 188375"/>
                <a:gd name="connsiteX11" fmla="*/ 122454 w 122454"/>
                <a:gd name="connsiteY11" fmla="*/ 0 h 188375"/>
                <a:gd name="connsiteX12" fmla="*/ 0 w 122454"/>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75">
                  <a:moveTo>
                    <a:pt x="0" y="0"/>
                  </a:moveTo>
                  <a:lnTo>
                    <a:pt x="0" y="188376"/>
                  </a:lnTo>
                  <a:lnTo>
                    <a:pt x="122454" y="188376"/>
                  </a:lnTo>
                  <a:lnTo>
                    <a:pt x="122454" y="157813"/>
                  </a:lnTo>
                  <a:lnTo>
                    <a:pt x="33235" y="157813"/>
                  </a:lnTo>
                  <a:lnTo>
                    <a:pt x="33235" y="112792"/>
                  </a:lnTo>
                  <a:lnTo>
                    <a:pt x="114163" y="112792"/>
                  </a:lnTo>
                  <a:lnTo>
                    <a:pt x="114163" y="83327"/>
                  </a:lnTo>
                  <a:lnTo>
                    <a:pt x="33235" y="83327"/>
                  </a:lnTo>
                  <a:lnTo>
                    <a:pt x="33235" y="30562"/>
                  </a:lnTo>
                  <a:lnTo>
                    <a:pt x="122454" y="30562"/>
                  </a:lnTo>
                  <a:lnTo>
                    <a:pt x="122454" y="0"/>
                  </a:lnTo>
                  <a:lnTo>
                    <a:pt x="0" y="0"/>
                  </a:lnTo>
                  <a:close/>
                </a:path>
              </a:pathLst>
            </a:custGeom>
            <a:grpFill/>
            <a:ln w="6853" cap="flat">
              <a:noFill/>
              <a:prstDash val="solid"/>
              <a:miter/>
            </a:ln>
          </p:spPr>
          <p:txBody>
            <a:bodyPr rtlCol="0" anchor="ctr"/>
            <a:lstStyle/>
            <a:p>
              <a:endParaRPr lang="en-GB"/>
            </a:p>
          </p:txBody>
        </p:sp>
      </p:grpSp>
      <p:sp>
        <p:nvSpPr>
          <p:cNvPr id="23" name="Title 22">
            <a:extLst>
              <a:ext uri="{FF2B5EF4-FFF2-40B4-BE49-F238E27FC236}">
                <a16:creationId xmlns:a16="http://schemas.microsoft.com/office/drawing/2014/main" id="{09E82F87-CF4A-4A93-9472-B0DDD5EDA077}"/>
              </a:ext>
            </a:extLst>
          </p:cNvPr>
          <p:cNvSpPr>
            <a:spLocks noGrp="1"/>
          </p:cNvSpPr>
          <p:nvPr>
            <p:ph type="title" hasCustomPrompt="1"/>
          </p:nvPr>
        </p:nvSpPr>
        <p:spPr>
          <a:xfrm>
            <a:off x="587375" y="2225428"/>
            <a:ext cx="5156200" cy="1661993"/>
          </a:xfrm>
        </p:spPr>
        <p:txBody>
          <a:bodyPr vert="horz" lIns="0" tIns="0" rIns="0" bIns="0" anchor="b" anchorCtr="0">
            <a:spAutoFit/>
          </a:bodyPr>
          <a:lstStyle>
            <a:lvl1pPr>
              <a:lnSpc>
                <a:spcPct val="100000"/>
              </a:lnSpc>
              <a:spcBef>
                <a:spcPts val="100"/>
              </a:spcBef>
              <a:spcAft>
                <a:spcPts val="100"/>
              </a:spcAft>
              <a:defRPr sz="3600">
                <a:solidFill>
                  <a:schemeClr val="accent1"/>
                </a:solidFill>
              </a:defRPr>
            </a:lvl1pPr>
          </a:lstStyle>
          <a:p>
            <a:r>
              <a:rPr lang="en-US"/>
              <a:t>Title placeholder </a:t>
            </a:r>
            <a:r>
              <a:rPr lang="en-US" err="1"/>
              <a:t>alitori</a:t>
            </a:r>
            <a:r>
              <a:rPr lang="en-US"/>
              <a:t> </a:t>
            </a:r>
            <a:r>
              <a:rPr lang="en-US" err="1"/>
              <a:t>ut</a:t>
            </a:r>
            <a:r>
              <a:rPr lang="en-US"/>
              <a:t> </a:t>
            </a:r>
            <a:r>
              <a:rPr lang="en-US" err="1"/>
              <a:t>exeri</a:t>
            </a:r>
            <a:r>
              <a:rPr lang="en-US"/>
              <a:t> </a:t>
            </a:r>
            <a:r>
              <a:rPr lang="en-US" err="1"/>
              <a:t>bearitati</a:t>
            </a:r>
            <a:r>
              <a:rPr lang="en-US"/>
              <a:t> </a:t>
            </a:r>
            <a:r>
              <a:rPr lang="en-US" err="1"/>
              <a:t>ut</a:t>
            </a:r>
            <a:r>
              <a:rPr lang="en-US"/>
              <a:t> </a:t>
            </a:r>
            <a:r>
              <a:rPr lang="en-US" err="1"/>
              <a:t>volent</a:t>
            </a:r>
            <a:r>
              <a:rPr lang="en-US"/>
              <a:t> </a:t>
            </a:r>
            <a:r>
              <a:rPr lang="en-US" err="1"/>
              <a:t>lamusdae</a:t>
            </a:r>
            <a:r>
              <a:rPr lang="en-US"/>
              <a:t> es qui.</a:t>
            </a:r>
            <a:endParaRPr lang="en-GB"/>
          </a:p>
        </p:txBody>
      </p:sp>
      <p:sp>
        <p:nvSpPr>
          <p:cNvPr id="30" name="Freeform: Shape 29">
            <a:extLst>
              <a:ext uri="{FF2B5EF4-FFF2-40B4-BE49-F238E27FC236}">
                <a16:creationId xmlns:a16="http://schemas.microsoft.com/office/drawing/2014/main" id="{F98AB8C2-5685-434C-876B-28AD2BD2E0C7}"/>
              </a:ext>
            </a:extLst>
          </p:cNvPr>
          <p:cNvSpPr/>
          <p:nvPr/>
        </p:nvSpPr>
        <p:spPr>
          <a:xfrm>
            <a:off x="7923255" y="2012965"/>
            <a:ext cx="4268745" cy="4285146"/>
          </a:xfrm>
          <a:custGeom>
            <a:avLst/>
            <a:gdLst>
              <a:gd name="connsiteX0" fmla="*/ 2047528 w 4268745"/>
              <a:gd name="connsiteY0" fmla="*/ 3183018 h 4285146"/>
              <a:gd name="connsiteX1" fmla="*/ 3785883 w 4268745"/>
              <a:gd name="connsiteY1" fmla="*/ 3183018 h 4285146"/>
              <a:gd name="connsiteX2" fmla="*/ 4242832 w 4268745"/>
              <a:gd name="connsiteY2" fmla="*/ 3425978 h 4285146"/>
              <a:gd name="connsiteX3" fmla="*/ 4268745 w 4268745"/>
              <a:gd name="connsiteY3" fmla="*/ 3473719 h 4285146"/>
              <a:gd name="connsiteX4" fmla="*/ 4268745 w 4268745"/>
              <a:gd name="connsiteY4" fmla="*/ 3994445 h 4285146"/>
              <a:gd name="connsiteX5" fmla="*/ 4242832 w 4268745"/>
              <a:gd name="connsiteY5" fmla="*/ 4042186 h 4285146"/>
              <a:gd name="connsiteX6" fmla="*/ 3785883 w 4268745"/>
              <a:gd name="connsiteY6" fmla="*/ 4285146 h 4285146"/>
              <a:gd name="connsiteX7" fmla="*/ 2047528 w 4268745"/>
              <a:gd name="connsiteY7" fmla="*/ 4285146 h 4285146"/>
              <a:gd name="connsiteX8" fmla="*/ 1496466 w 4268745"/>
              <a:gd name="connsiteY8" fmla="*/ 3734018 h 4285146"/>
              <a:gd name="connsiteX9" fmla="*/ 1496466 w 4268745"/>
              <a:gd name="connsiteY9" fmla="*/ 3733955 h 4285146"/>
              <a:gd name="connsiteX10" fmla="*/ 2047528 w 4268745"/>
              <a:gd name="connsiteY10" fmla="*/ 3183018 h 4285146"/>
              <a:gd name="connsiteX11" fmla="*/ 551061 w 4268745"/>
              <a:gd name="connsiteY11" fmla="*/ 3182955 h 4285146"/>
              <a:gd name="connsiteX12" fmla="*/ 551316 w 4268745"/>
              <a:gd name="connsiteY12" fmla="*/ 3182955 h 4285146"/>
              <a:gd name="connsiteX13" fmla="*/ 1102378 w 4268745"/>
              <a:gd name="connsiteY13" fmla="*/ 3734018 h 4285146"/>
              <a:gd name="connsiteX14" fmla="*/ 551316 w 4268745"/>
              <a:gd name="connsiteY14" fmla="*/ 4285082 h 4285146"/>
              <a:gd name="connsiteX15" fmla="*/ 254 w 4268745"/>
              <a:gd name="connsiteY15" fmla="*/ 3734018 h 4285146"/>
              <a:gd name="connsiteX16" fmla="*/ 63 w 4268745"/>
              <a:gd name="connsiteY16" fmla="*/ 3734082 h 4285146"/>
              <a:gd name="connsiteX17" fmla="*/ 63 w 4268745"/>
              <a:gd name="connsiteY17" fmla="*/ 3733955 h 4285146"/>
              <a:gd name="connsiteX18" fmla="*/ 551061 w 4268745"/>
              <a:gd name="connsiteY18" fmla="*/ 3182955 h 4285146"/>
              <a:gd name="connsiteX19" fmla="*/ 3785883 w 4268745"/>
              <a:gd name="connsiteY19" fmla="*/ 1591573 h 4285146"/>
              <a:gd name="connsiteX20" fmla="*/ 4242832 w 4268745"/>
              <a:gd name="connsiteY20" fmla="*/ 1834532 h 4285146"/>
              <a:gd name="connsiteX21" fmla="*/ 4268745 w 4268745"/>
              <a:gd name="connsiteY21" fmla="*/ 1882274 h 4285146"/>
              <a:gd name="connsiteX22" fmla="*/ 4268745 w 4268745"/>
              <a:gd name="connsiteY22" fmla="*/ 2403001 h 4285146"/>
              <a:gd name="connsiteX23" fmla="*/ 4242845 w 4268745"/>
              <a:gd name="connsiteY23" fmla="*/ 2450721 h 4285146"/>
              <a:gd name="connsiteX24" fmla="*/ 3785947 w 4268745"/>
              <a:gd name="connsiteY24" fmla="*/ 2693700 h 4285146"/>
              <a:gd name="connsiteX25" fmla="*/ 3785883 w 4268745"/>
              <a:gd name="connsiteY25" fmla="*/ 2693700 h 4285146"/>
              <a:gd name="connsiteX26" fmla="*/ 3234822 w 4268745"/>
              <a:gd name="connsiteY26" fmla="*/ 2142637 h 4285146"/>
              <a:gd name="connsiteX27" fmla="*/ 3785883 w 4268745"/>
              <a:gd name="connsiteY27" fmla="*/ 1591573 h 4285146"/>
              <a:gd name="connsiteX28" fmla="*/ 551061 w 4268745"/>
              <a:gd name="connsiteY28" fmla="*/ 1591573 h 4285146"/>
              <a:gd name="connsiteX29" fmla="*/ 2289672 w 4268745"/>
              <a:gd name="connsiteY29" fmla="*/ 1591573 h 4285146"/>
              <a:gd name="connsiteX30" fmla="*/ 2840733 w 4268745"/>
              <a:gd name="connsiteY30" fmla="*/ 2142637 h 4285146"/>
              <a:gd name="connsiteX31" fmla="*/ 2289672 w 4268745"/>
              <a:gd name="connsiteY31" fmla="*/ 2693700 h 4285146"/>
              <a:gd name="connsiteX32" fmla="*/ 551061 w 4268745"/>
              <a:gd name="connsiteY32" fmla="*/ 2693700 h 4285146"/>
              <a:gd name="connsiteX33" fmla="*/ 63 w 4268745"/>
              <a:gd name="connsiteY33" fmla="*/ 2142700 h 4285146"/>
              <a:gd name="connsiteX34" fmla="*/ 0 w 4268745"/>
              <a:gd name="connsiteY34" fmla="*/ 2142573 h 4285146"/>
              <a:gd name="connsiteX35" fmla="*/ 0 w 4268745"/>
              <a:gd name="connsiteY35" fmla="*/ 2142509 h 4285146"/>
              <a:gd name="connsiteX36" fmla="*/ 551061 w 4268745"/>
              <a:gd name="connsiteY36" fmla="*/ 1591573 h 4285146"/>
              <a:gd name="connsiteX37" fmla="*/ 551125 w 4268745"/>
              <a:gd name="connsiteY37" fmla="*/ 64 h 4285146"/>
              <a:gd name="connsiteX38" fmla="*/ 1102123 w 4268745"/>
              <a:gd name="connsiteY38" fmla="*/ 551191 h 4285146"/>
              <a:gd name="connsiteX39" fmla="*/ 1102187 w 4268745"/>
              <a:gd name="connsiteY39" fmla="*/ 551064 h 4285146"/>
              <a:gd name="connsiteX40" fmla="*/ 551061 w 4268745"/>
              <a:gd name="connsiteY40" fmla="*/ 1102191 h 4285146"/>
              <a:gd name="connsiteX41" fmla="*/ 550998 w 4268745"/>
              <a:gd name="connsiteY41" fmla="*/ 1102191 h 4285146"/>
              <a:gd name="connsiteX42" fmla="*/ 0 w 4268745"/>
              <a:gd name="connsiteY42" fmla="*/ 551064 h 4285146"/>
              <a:gd name="connsiteX43" fmla="*/ 551125 w 4268745"/>
              <a:gd name="connsiteY43" fmla="*/ 64 h 4285146"/>
              <a:gd name="connsiteX44" fmla="*/ 2047528 w 4268745"/>
              <a:gd name="connsiteY44" fmla="*/ 0 h 4285146"/>
              <a:gd name="connsiteX45" fmla="*/ 3785693 w 4268745"/>
              <a:gd name="connsiteY45" fmla="*/ 0 h 4285146"/>
              <a:gd name="connsiteX46" fmla="*/ 4242641 w 4268745"/>
              <a:gd name="connsiteY46" fmla="*/ 242960 h 4285146"/>
              <a:gd name="connsiteX47" fmla="*/ 4268745 w 4268745"/>
              <a:gd name="connsiteY47" fmla="*/ 291053 h 4285146"/>
              <a:gd name="connsiteX48" fmla="*/ 4268745 w 4268745"/>
              <a:gd name="connsiteY48" fmla="*/ 811427 h 4285146"/>
              <a:gd name="connsiteX49" fmla="*/ 4242832 w 4268745"/>
              <a:gd name="connsiteY49" fmla="*/ 859168 h 4285146"/>
              <a:gd name="connsiteX50" fmla="*/ 3785883 w 4268745"/>
              <a:gd name="connsiteY50" fmla="*/ 1102127 h 4285146"/>
              <a:gd name="connsiteX51" fmla="*/ 2047528 w 4268745"/>
              <a:gd name="connsiteY51" fmla="*/ 1102127 h 4285146"/>
              <a:gd name="connsiteX52" fmla="*/ 1496466 w 4268745"/>
              <a:gd name="connsiteY52" fmla="*/ 551064 h 4285146"/>
              <a:gd name="connsiteX53" fmla="*/ 2047528 w 4268745"/>
              <a:gd name="connsiteY53" fmla="*/ 0 h 428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268745" h="4285146">
                <a:moveTo>
                  <a:pt x="2047528" y="3183018"/>
                </a:moveTo>
                <a:lnTo>
                  <a:pt x="3785883" y="3183018"/>
                </a:lnTo>
                <a:cubicBezTo>
                  <a:pt x="3976097" y="3183018"/>
                  <a:pt x="4143802" y="3279394"/>
                  <a:pt x="4242832" y="3425978"/>
                </a:cubicBezTo>
                <a:lnTo>
                  <a:pt x="4268745" y="3473719"/>
                </a:lnTo>
                <a:lnTo>
                  <a:pt x="4268745" y="3994445"/>
                </a:lnTo>
                <a:lnTo>
                  <a:pt x="4242832" y="4042186"/>
                </a:lnTo>
                <a:cubicBezTo>
                  <a:pt x="4143802" y="4188770"/>
                  <a:pt x="3976097" y="4285146"/>
                  <a:pt x="3785883" y="4285146"/>
                </a:cubicBezTo>
                <a:lnTo>
                  <a:pt x="2047528" y="4285146"/>
                </a:lnTo>
                <a:cubicBezTo>
                  <a:pt x="1743174" y="4285108"/>
                  <a:pt x="1496466" y="4038373"/>
                  <a:pt x="1496466" y="3734018"/>
                </a:cubicBezTo>
                <a:cubicBezTo>
                  <a:pt x="1496466" y="3733999"/>
                  <a:pt x="1496466" y="3733974"/>
                  <a:pt x="1496466" y="3733955"/>
                </a:cubicBezTo>
                <a:cubicBezTo>
                  <a:pt x="1496504" y="3429645"/>
                  <a:pt x="1743218" y="3182987"/>
                  <a:pt x="2047528" y="3183018"/>
                </a:cubicBezTo>
                <a:close/>
                <a:moveTo>
                  <a:pt x="551061" y="3182955"/>
                </a:moveTo>
                <a:cubicBezTo>
                  <a:pt x="551144" y="3182955"/>
                  <a:pt x="551233" y="3182955"/>
                  <a:pt x="551316" y="3182955"/>
                </a:cubicBezTo>
                <a:cubicBezTo>
                  <a:pt x="855657" y="3182955"/>
                  <a:pt x="1102378" y="3429676"/>
                  <a:pt x="1102378" y="3734018"/>
                </a:cubicBezTo>
                <a:cubicBezTo>
                  <a:pt x="1102378" y="4038361"/>
                  <a:pt x="855657" y="4285082"/>
                  <a:pt x="551316" y="4285082"/>
                </a:cubicBezTo>
                <a:cubicBezTo>
                  <a:pt x="246975" y="4285082"/>
                  <a:pt x="254" y="4038361"/>
                  <a:pt x="254" y="3734018"/>
                </a:cubicBezTo>
                <a:lnTo>
                  <a:pt x="63" y="3734082"/>
                </a:lnTo>
                <a:cubicBezTo>
                  <a:pt x="63" y="3734037"/>
                  <a:pt x="63" y="3733999"/>
                  <a:pt x="63" y="3733955"/>
                </a:cubicBezTo>
                <a:cubicBezTo>
                  <a:pt x="63" y="3429645"/>
                  <a:pt x="246752" y="3182955"/>
                  <a:pt x="551061" y="3182955"/>
                </a:cubicBezTo>
                <a:close/>
                <a:moveTo>
                  <a:pt x="3785883" y="1591573"/>
                </a:moveTo>
                <a:cubicBezTo>
                  <a:pt x="3976097" y="1591573"/>
                  <a:pt x="4143802" y="1687948"/>
                  <a:pt x="4242832" y="1834532"/>
                </a:cubicBezTo>
                <a:lnTo>
                  <a:pt x="4268745" y="1882274"/>
                </a:lnTo>
                <a:lnTo>
                  <a:pt x="4268745" y="2403001"/>
                </a:lnTo>
                <a:lnTo>
                  <a:pt x="4242845" y="2450721"/>
                </a:lnTo>
                <a:cubicBezTo>
                  <a:pt x="4143829" y="2597300"/>
                  <a:pt x="3976144" y="2693680"/>
                  <a:pt x="3785947" y="2693700"/>
                </a:cubicBezTo>
                <a:cubicBezTo>
                  <a:pt x="3785928" y="2693700"/>
                  <a:pt x="3785902" y="2693700"/>
                  <a:pt x="3785883" y="2693700"/>
                </a:cubicBezTo>
                <a:cubicBezTo>
                  <a:pt x="3481542" y="2693700"/>
                  <a:pt x="3234822" y="2446979"/>
                  <a:pt x="3234822" y="2142637"/>
                </a:cubicBezTo>
                <a:cubicBezTo>
                  <a:pt x="3234822" y="1838294"/>
                  <a:pt x="3481542" y="1591573"/>
                  <a:pt x="3785883" y="1591573"/>
                </a:cubicBezTo>
                <a:close/>
                <a:moveTo>
                  <a:pt x="551061" y="1591573"/>
                </a:moveTo>
                <a:lnTo>
                  <a:pt x="2289672" y="1591573"/>
                </a:lnTo>
                <a:cubicBezTo>
                  <a:pt x="2594013" y="1591573"/>
                  <a:pt x="2840733" y="1838294"/>
                  <a:pt x="2840733" y="2142637"/>
                </a:cubicBezTo>
                <a:cubicBezTo>
                  <a:pt x="2840733" y="2446979"/>
                  <a:pt x="2594013" y="2693700"/>
                  <a:pt x="2289672" y="2693700"/>
                </a:cubicBezTo>
                <a:lnTo>
                  <a:pt x="551061" y="2693700"/>
                </a:lnTo>
                <a:cubicBezTo>
                  <a:pt x="246784" y="2693630"/>
                  <a:pt x="133" y="2446979"/>
                  <a:pt x="63" y="2142700"/>
                </a:cubicBezTo>
                <a:lnTo>
                  <a:pt x="0" y="2142573"/>
                </a:lnTo>
                <a:cubicBezTo>
                  <a:pt x="0" y="2142554"/>
                  <a:pt x="0" y="2142528"/>
                  <a:pt x="0" y="2142509"/>
                </a:cubicBezTo>
                <a:cubicBezTo>
                  <a:pt x="35" y="1838199"/>
                  <a:pt x="246752" y="1591535"/>
                  <a:pt x="551061" y="1591573"/>
                </a:cubicBezTo>
                <a:close/>
                <a:moveTo>
                  <a:pt x="551125" y="64"/>
                </a:moveTo>
                <a:cubicBezTo>
                  <a:pt x="855466" y="102"/>
                  <a:pt x="1102161" y="246849"/>
                  <a:pt x="1102123" y="551191"/>
                </a:cubicBezTo>
                <a:lnTo>
                  <a:pt x="1102187" y="551064"/>
                </a:lnTo>
                <a:cubicBezTo>
                  <a:pt x="1102187" y="855444"/>
                  <a:pt x="855441" y="1102191"/>
                  <a:pt x="551061" y="1102191"/>
                </a:cubicBezTo>
                <a:cubicBezTo>
                  <a:pt x="551042" y="1102191"/>
                  <a:pt x="551017" y="1102191"/>
                  <a:pt x="550998" y="1102191"/>
                </a:cubicBezTo>
                <a:cubicBezTo>
                  <a:pt x="246656" y="1102153"/>
                  <a:pt x="-35" y="855406"/>
                  <a:pt x="0" y="551064"/>
                </a:cubicBezTo>
                <a:cubicBezTo>
                  <a:pt x="35" y="246721"/>
                  <a:pt x="246784" y="25"/>
                  <a:pt x="551125" y="64"/>
                </a:cubicBezTo>
                <a:close/>
                <a:moveTo>
                  <a:pt x="2047528" y="0"/>
                </a:moveTo>
                <a:lnTo>
                  <a:pt x="3785693" y="0"/>
                </a:lnTo>
                <a:cubicBezTo>
                  <a:pt x="3975906" y="0"/>
                  <a:pt x="4143611" y="96376"/>
                  <a:pt x="4242641" y="242960"/>
                </a:cubicBezTo>
                <a:lnTo>
                  <a:pt x="4268745" y="291053"/>
                </a:lnTo>
                <a:lnTo>
                  <a:pt x="4268745" y="811427"/>
                </a:lnTo>
                <a:lnTo>
                  <a:pt x="4242832" y="859168"/>
                </a:lnTo>
                <a:cubicBezTo>
                  <a:pt x="4143802" y="1005752"/>
                  <a:pt x="3976097" y="1102127"/>
                  <a:pt x="3785883" y="1102127"/>
                </a:cubicBezTo>
                <a:lnTo>
                  <a:pt x="2047528" y="1102127"/>
                </a:lnTo>
                <a:cubicBezTo>
                  <a:pt x="1743187" y="1102127"/>
                  <a:pt x="1496466" y="855406"/>
                  <a:pt x="1496466" y="551064"/>
                </a:cubicBezTo>
                <a:cubicBezTo>
                  <a:pt x="1496466" y="246721"/>
                  <a:pt x="1743187" y="0"/>
                  <a:pt x="2047528" y="0"/>
                </a:cubicBezTo>
                <a:close/>
              </a:path>
            </a:pathLst>
          </a:custGeom>
          <a:solidFill>
            <a:schemeClr val="accent1"/>
          </a:solidFill>
          <a:ln w="6266" cap="flat">
            <a:noFill/>
            <a:prstDash val="solid"/>
            <a:miter/>
          </a:ln>
        </p:spPr>
        <p:txBody>
          <a:bodyPr rtlCol="0" anchor="ctr"/>
          <a:lstStyle/>
          <a:p>
            <a:endParaRPr lang="en-GB"/>
          </a:p>
        </p:txBody>
      </p:sp>
      <p:sp>
        <p:nvSpPr>
          <p:cNvPr id="7" name="Picture Placeholder 6">
            <a:extLst>
              <a:ext uri="{FF2B5EF4-FFF2-40B4-BE49-F238E27FC236}">
                <a16:creationId xmlns:a16="http://schemas.microsoft.com/office/drawing/2014/main" id="{92A0A943-0672-4BC1-BD96-DB8040805EB6}"/>
              </a:ext>
            </a:extLst>
          </p:cNvPr>
          <p:cNvSpPr>
            <a:spLocks noGrp="1"/>
          </p:cNvSpPr>
          <p:nvPr>
            <p:ph type="pic" sz="quarter" idx="10"/>
          </p:nvPr>
        </p:nvSpPr>
        <p:spPr>
          <a:xfrm>
            <a:off x="571500" y="5826125"/>
            <a:ext cx="2093913" cy="650875"/>
          </a:xfrm>
        </p:spPr>
        <p:txBody>
          <a:bodyPr/>
          <a:lstStyle>
            <a:lvl1pPr marL="0" indent="0">
              <a:buFontTx/>
              <a:buNone/>
              <a:defRPr/>
            </a:lvl1pPr>
          </a:lstStyle>
          <a:p>
            <a:endParaRPr lang="en-IN"/>
          </a:p>
        </p:txBody>
      </p:sp>
    </p:spTree>
    <p:custDataLst>
      <p:tags r:id="rId1"/>
    </p:custDataLst>
    <p:extLst>
      <p:ext uri="{BB962C8B-B14F-4D97-AF65-F5344CB8AC3E}">
        <p14:creationId xmlns:p14="http://schemas.microsoft.com/office/powerpoint/2010/main" val="843951070"/>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45463478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Quote and Imag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2BB8E49-1F6F-46FF-9288-4D6D8DB9D556}"/>
              </a:ext>
            </a:extLst>
          </p:cNvPr>
          <p:cNvSpPr>
            <a:spLocks noGrp="1"/>
          </p:cNvSpPr>
          <p:nvPr>
            <p:ph type="body" sz="quarter" idx="13" hasCustomPrompt="1"/>
          </p:nvPr>
        </p:nvSpPr>
        <p:spPr>
          <a:xfrm>
            <a:off x="2026227" y="2436089"/>
            <a:ext cx="8139545" cy="1507837"/>
          </a:xfrm>
        </p:spPr>
        <p:txBody>
          <a:bodyPr>
            <a:normAutofit/>
          </a:bodyPr>
          <a:lstStyle>
            <a:lvl1pPr marL="0" indent="0" algn="ctr">
              <a:buFont typeface="Arial" panose="020B0604020202020204" pitchFamily="34" charset="0"/>
              <a:buChar char="​"/>
              <a:defRPr sz="2400">
                <a:solidFill>
                  <a:schemeClr val="bg1"/>
                </a:solidFill>
              </a:defRPr>
            </a:lvl1pPr>
          </a:lstStyle>
          <a:p>
            <a:pPr lvl="0"/>
            <a:r>
              <a:rPr lang="en-US"/>
              <a:t>Et </a:t>
            </a:r>
            <a:r>
              <a:rPr lang="en-US" err="1"/>
              <a:t>opta</a:t>
            </a:r>
            <a:r>
              <a:rPr lang="en-US"/>
              <a:t> cum </a:t>
            </a:r>
            <a:r>
              <a:rPr lang="en-US" err="1"/>
              <a:t>evernatus</a:t>
            </a:r>
            <a:r>
              <a:rPr lang="en-US"/>
              <a:t> </a:t>
            </a:r>
            <a:r>
              <a:rPr lang="en-US" err="1"/>
              <a:t>escidebis</a:t>
            </a:r>
            <a:r>
              <a:rPr lang="en-US"/>
              <a:t> </a:t>
            </a:r>
            <a:r>
              <a:rPr lang="en-US" err="1"/>
              <a:t>ut</a:t>
            </a:r>
            <a:r>
              <a:rPr lang="en-US"/>
              <a:t> </a:t>
            </a:r>
            <a:r>
              <a:rPr lang="en-US" err="1"/>
              <a:t>venimagnam</a:t>
            </a:r>
            <a:r>
              <a:rPr lang="en-US"/>
              <a:t>, </a:t>
            </a:r>
            <a:r>
              <a:rPr lang="en-US" err="1"/>
              <a:t>odion</a:t>
            </a:r>
            <a:r>
              <a:rPr lang="en-US"/>
              <a:t> prat et, </a:t>
            </a:r>
            <a:r>
              <a:rPr lang="en-US" err="1"/>
              <a:t>consequ</a:t>
            </a:r>
            <a:r>
              <a:rPr lang="en-US"/>
              <a:t> </a:t>
            </a:r>
            <a:r>
              <a:rPr lang="en-US" err="1"/>
              <a:t>idemperit</a:t>
            </a:r>
            <a:r>
              <a:rPr lang="en-US"/>
              <a:t> </a:t>
            </a:r>
            <a:r>
              <a:rPr lang="en-US" err="1"/>
              <a:t>ipsus</a:t>
            </a:r>
            <a:r>
              <a:rPr lang="en-US"/>
              <a:t> non </a:t>
            </a:r>
            <a:r>
              <a:rPr lang="en-US" err="1"/>
              <a:t>cumquo</a:t>
            </a:r>
            <a:r>
              <a:rPr lang="en-US"/>
              <a:t> </a:t>
            </a:r>
            <a:r>
              <a:rPr lang="en-US" err="1"/>
              <a:t>volorectum</a:t>
            </a:r>
            <a:r>
              <a:rPr lang="en-US"/>
              <a:t> </a:t>
            </a:r>
            <a:r>
              <a:rPr lang="en-US" err="1"/>
              <a:t>ullam</a:t>
            </a:r>
            <a:r>
              <a:rPr lang="en-US"/>
              <a:t>, </a:t>
            </a:r>
            <a:r>
              <a:rPr lang="en-US" err="1"/>
              <a:t>omnihillatem</a:t>
            </a:r>
            <a:r>
              <a:rPr lang="en-US"/>
              <a:t> </a:t>
            </a:r>
            <a:r>
              <a:rPr lang="en-US" err="1"/>
              <a:t>lamet</a:t>
            </a:r>
            <a:r>
              <a:rPr lang="en-US"/>
              <a:t>.</a:t>
            </a:r>
            <a:endParaRPr lang="en-GB"/>
          </a:p>
        </p:txBody>
      </p:sp>
      <p:grpSp>
        <p:nvGrpSpPr>
          <p:cNvPr id="9" name="Graphic 7">
            <a:extLst>
              <a:ext uri="{FF2B5EF4-FFF2-40B4-BE49-F238E27FC236}">
                <a16:creationId xmlns:a16="http://schemas.microsoft.com/office/drawing/2014/main" id="{A5FB9FAA-B750-4ED3-B5D4-EB4B7BB10879}"/>
              </a:ext>
            </a:extLst>
          </p:cNvPr>
          <p:cNvGrpSpPr/>
          <p:nvPr/>
        </p:nvGrpSpPr>
        <p:grpSpPr>
          <a:xfrm>
            <a:off x="5750858" y="1256145"/>
            <a:ext cx="689964" cy="448450"/>
            <a:chOff x="5581686" y="1681900"/>
            <a:chExt cx="1028308" cy="668360"/>
          </a:xfrm>
          <a:solidFill>
            <a:srgbClr val="E0044E"/>
          </a:solidFill>
        </p:grpSpPr>
        <p:sp>
          <p:nvSpPr>
            <p:cNvPr id="10" name="Freeform: Shape 9">
              <a:extLst>
                <a:ext uri="{FF2B5EF4-FFF2-40B4-BE49-F238E27FC236}">
                  <a16:creationId xmlns:a16="http://schemas.microsoft.com/office/drawing/2014/main" id="{519F6974-A06E-4E23-8668-5CA482AA61CD}"/>
                </a:ext>
              </a:extLst>
            </p:cNvPr>
            <p:cNvSpPr/>
            <p:nvPr/>
          </p:nvSpPr>
          <p:spPr>
            <a:xfrm>
              <a:off x="6139433" y="1681900"/>
              <a:ext cx="470560" cy="668360"/>
            </a:xfrm>
            <a:custGeom>
              <a:avLst/>
              <a:gdLst>
                <a:gd name="connsiteX0" fmla="*/ 150542 w 470560"/>
                <a:gd name="connsiteY0" fmla="*/ 454590 h 668360"/>
                <a:gd name="connsiteX1" fmla="*/ 185688 w 470560"/>
                <a:gd name="connsiteY1" fmla="*/ 466401 h 668360"/>
                <a:gd name="connsiteX2" fmla="*/ 105869 w 470560"/>
                <a:gd name="connsiteY2" fmla="*/ 558889 h 668360"/>
                <a:gd name="connsiteX3" fmla="*/ 110155 w 470560"/>
                <a:gd name="connsiteY3" fmla="*/ 648090 h 668360"/>
                <a:gd name="connsiteX4" fmla="*/ 112632 w 470560"/>
                <a:gd name="connsiteY4" fmla="*/ 650233 h 668360"/>
                <a:gd name="connsiteX5" fmla="*/ 203386 w 470560"/>
                <a:gd name="connsiteY5" fmla="*/ 647842 h 668360"/>
                <a:gd name="connsiteX6" fmla="*/ 205691 w 470560"/>
                <a:gd name="connsiteY6" fmla="*/ 645280 h 668360"/>
                <a:gd name="connsiteX7" fmla="*/ 248935 w 470560"/>
                <a:gd name="connsiteY7" fmla="*/ 598227 h 668360"/>
                <a:gd name="connsiteX8" fmla="*/ 426862 w 470560"/>
                <a:gd name="connsiteY8" fmla="*/ 364864 h 668360"/>
                <a:gd name="connsiteX9" fmla="*/ 469629 w 470560"/>
                <a:gd name="connsiteY9" fmla="*/ 234562 h 668360"/>
                <a:gd name="connsiteX10" fmla="*/ 234162 w 470560"/>
                <a:gd name="connsiteY10" fmla="*/ -505 h 668360"/>
                <a:gd name="connsiteX11" fmla="*/ -906 w 470560"/>
                <a:gd name="connsiteY11" fmla="*/ 234962 h 668360"/>
                <a:gd name="connsiteX12" fmla="*/ 150542 w 470560"/>
                <a:gd name="connsiteY12" fmla="*/ 454590 h 668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0560" h="668360">
                  <a:moveTo>
                    <a:pt x="150542" y="454590"/>
                  </a:moveTo>
                  <a:cubicBezTo>
                    <a:pt x="161304" y="458495"/>
                    <a:pt x="172354" y="461924"/>
                    <a:pt x="185688" y="466401"/>
                  </a:cubicBezTo>
                  <a:cubicBezTo>
                    <a:pt x="158257" y="498214"/>
                    <a:pt x="131492" y="528122"/>
                    <a:pt x="105869" y="558889"/>
                  </a:cubicBezTo>
                  <a:cubicBezTo>
                    <a:pt x="82419" y="584701"/>
                    <a:pt x="84333" y="624640"/>
                    <a:pt x="110155" y="648090"/>
                  </a:cubicBezTo>
                  <a:cubicBezTo>
                    <a:pt x="110956" y="648833"/>
                    <a:pt x="111784" y="649538"/>
                    <a:pt x="112632" y="650233"/>
                  </a:cubicBezTo>
                  <a:cubicBezTo>
                    <a:pt x="138359" y="674636"/>
                    <a:pt x="178993" y="673560"/>
                    <a:pt x="203386" y="647842"/>
                  </a:cubicBezTo>
                  <a:cubicBezTo>
                    <a:pt x="204177" y="647004"/>
                    <a:pt x="204948" y="646157"/>
                    <a:pt x="205691" y="645280"/>
                  </a:cubicBezTo>
                  <a:cubicBezTo>
                    <a:pt x="220169" y="629659"/>
                    <a:pt x="234266" y="613943"/>
                    <a:pt x="248935" y="598227"/>
                  </a:cubicBezTo>
                  <a:cubicBezTo>
                    <a:pt x="315038" y="525551"/>
                    <a:pt x="378380" y="450779"/>
                    <a:pt x="426862" y="364864"/>
                  </a:cubicBezTo>
                  <a:cubicBezTo>
                    <a:pt x="449722" y="324478"/>
                    <a:pt x="470486" y="282378"/>
                    <a:pt x="469629" y="234562"/>
                  </a:cubicBezTo>
                  <a:cubicBezTo>
                    <a:pt x="469534" y="104631"/>
                    <a:pt x="364092" y="-619"/>
                    <a:pt x="234162" y="-505"/>
                  </a:cubicBezTo>
                  <a:cubicBezTo>
                    <a:pt x="104231" y="-401"/>
                    <a:pt x="-1011" y="105022"/>
                    <a:pt x="-906" y="234962"/>
                  </a:cubicBezTo>
                  <a:cubicBezTo>
                    <a:pt x="-821" y="332479"/>
                    <a:pt x="59416" y="419842"/>
                    <a:pt x="150542" y="454590"/>
                  </a:cubicBezTo>
                </a:path>
              </a:pathLst>
            </a:custGeom>
            <a:solidFill>
              <a:srgbClr val="E0044E"/>
            </a:solidFill>
            <a:ln w="9525"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E7A0389A-F9D3-4E5D-82BF-2BCDDFFF761B}"/>
                </a:ext>
              </a:extLst>
            </p:cNvPr>
            <p:cNvSpPr/>
            <p:nvPr/>
          </p:nvSpPr>
          <p:spPr>
            <a:xfrm>
              <a:off x="5581686" y="1682608"/>
              <a:ext cx="465628" cy="666552"/>
            </a:xfrm>
            <a:custGeom>
              <a:avLst/>
              <a:gdLst>
                <a:gd name="connsiteX0" fmla="*/ 123549 w 465628"/>
                <a:gd name="connsiteY0" fmla="*/ 441689 h 666552"/>
                <a:gd name="connsiteX1" fmla="*/ 178985 w 465628"/>
                <a:gd name="connsiteY1" fmla="*/ 466168 h 666552"/>
                <a:gd name="connsiteX2" fmla="*/ 170888 w 465628"/>
                <a:gd name="connsiteY2" fmla="*/ 477694 h 666552"/>
                <a:gd name="connsiteX3" fmla="*/ 104213 w 465628"/>
                <a:gd name="connsiteY3" fmla="*/ 555132 h 666552"/>
                <a:gd name="connsiteX4" fmla="*/ 106737 w 465628"/>
                <a:gd name="connsiteY4" fmla="*/ 648039 h 666552"/>
                <a:gd name="connsiteX5" fmla="*/ 156220 w 465628"/>
                <a:gd name="connsiteY5" fmla="*/ 665908 h 666552"/>
                <a:gd name="connsiteX6" fmla="*/ 210798 w 465628"/>
                <a:gd name="connsiteY6" fmla="*/ 633904 h 666552"/>
                <a:gd name="connsiteX7" fmla="*/ 402727 w 465628"/>
                <a:gd name="connsiteY7" fmla="*/ 397303 h 666552"/>
                <a:gd name="connsiteX8" fmla="*/ 464068 w 465628"/>
                <a:gd name="connsiteY8" fmla="*/ 250618 h 666552"/>
                <a:gd name="connsiteX9" fmla="*/ 365389 w 465628"/>
                <a:gd name="connsiteY9" fmla="*/ 43068 h 666552"/>
                <a:gd name="connsiteX10" fmla="*/ 131550 w 465628"/>
                <a:gd name="connsiteY10" fmla="*/ 24780 h 666552"/>
                <a:gd name="connsiteX11" fmla="*/ -848 w 465628"/>
                <a:gd name="connsiteY11" fmla="*/ 229663 h 666552"/>
                <a:gd name="connsiteX12" fmla="*/ 123644 w 465628"/>
                <a:gd name="connsiteY12" fmla="*/ 441689 h 666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5628" h="666552">
                  <a:moveTo>
                    <a:pt x="123549" y="441689"/>
                  </a:moveTo>
                  <a:cubicBezTo>
                    <a:pt x="141561" y="450872"/>
                    <a:pt x="160068" y="459044"/>
                    <a:pt x="178985" y="466168"/>
                  </a:cubicBezTo>
                  <a:cubicBezTo>
                    <a:pt x="176546" y="470188"/>
                    <a:pt x="173841" y="474037"/>
                    <a:pt x="170888" y="477694"/>
                  </a:cubicBezTo>
                  <a:cubicBezTo>
                    <a:pt x="148695" y="503602"/>
                    <a:pt x="126406" y="529319"/>
                    <a:pt x="104213" y="555132"/>
                  </a:cubicBezTo>
                  <a:cubicBezTo>
                    <a:pt x="79257" y="581488"/>
                    <a:pt x="80381" y="623083"/>
                    <a:pt x="106737" y="648039"/>
                  </a:cubicBezTo>
                  <a:cubicBezTo>
                    <a:pt x="120025" y="660631"/>
                    <a:pt x="137960" y="667099"/>
                    <a:pt x="156220" y="665908"/>
                  </a:cubicBezTo>
                  <a:cubicBezTo>
                    <a:pt x="180508" y="665337"/>
                    <a:pt x="195367" y="650573"/>
                    <a:pt x="210798" y="633904"/>
                  </a:cubicBezTo>
                  <a:cubicBezTo>
                    <a:pt x="279854" y="559133"/>
                    <a:pt x="347863" y="483504"/>
                    <a:pt x="402727" y="397303"/>
                  </a:cubicBezTo>
                  <a:cubicBezTo>
                    <a:pt x="431302" y="351964"/>
                    <a:pt x="460448" y="305482"/>
                    <a:pt x="464068" y="250618"/>
                  </a:cubicBezTo>
                  <a:cubicBezTo>
                    <a:pt x="469878" y="164226"/>
                    <a:pt x="437016" y="92979"/>
                    <a:pt x="365389" y="43068"/>
                  </a:cubicBezTo>
                  <a:cubicBezTo>
                    <a:pt x="291856" y="-8271"/>
                    <a:pt x="211655" y="-14082"/>
                    <a:pt x="131550" y="24780"/>
                  </a:cubicBezTo>
                  <a:cubicBezTo>
                    <a:pt x="47634" y="65833"/>
                    <a:pt x="1058" y="135270"/>
                    <a:pt x="-848" y="229663"/>
                  </a:cubicBezTo>
                  <a:cubicBezTo>
                    <a:pt x="-2753" y="324056"/>
                    <a:pt x="41920" y="394826"/>
                    <a:pt x="123644" y="441689"/>
                  </a:cubicBezTo>
                </a:path>
              </a:pathLst>
            </a:custGeom>
            <a:solidFill>
              <a:srgbClr val="E0044E"/>
            </a:solidFill>
            <a:ln w="9525" cap="flat">
              <a:noFill/>
              <a:prstDash val="solid"/>
              <a:miter/>
            </a:ln>
          </p:spPr>
          <p:txBody>
            <a:bodyPr rtlCol="0" anchor="ctr"/>
            <a:lstStyle/>
            <a:p>
              <a:endParaRPr lang="en-GB"/>
            </a:p>
          </p:txBody>
        </p:sp>
      </p:grpSp>
      <p:sp>
        <p:nvSpPr>
          <p:cNvPr id="22" name="Picture Placeholder 21">
            <a:extLst>
              <a:ext uri="{FF2B5EF4-FFF2-40B4-BE49-F238E27FC236}">
                <a16:creationId xmlns:a16="http://schemas.microsoft.com/office/drawing/2014/main" id="{8260569C-4C56-4153-B1C9-F4CF39BAD223}"/>
              </a:ext>
            </a:extLst>
          </p:cNvPr>
          <p:cNvSpPr>
            <a:spLocks noGrp="1"/>
          </p:cNvSpPr>
          <p:nvPr>
            <p:ph type="pic" sz="quarter" idx="14"/>
          </p:nvPr>
        </p:nvSpPr>
        <p:spPr>
          <a:xfrm>
            <a:off x="5578765" y="4040086"/>
            <a:ext cx="1034470" cy="1034470"/>
          </a:xfrm>
          <a:custGeom>
            <a:avLst/>
            <a:gdLst>
              <a:gd name="connsiteX0" fmla="*/ 517235 w 1034470"/>
              <a:gd name="connsiteY0" fmla="*/ 0 h 1034470"/>
              <a:gd name="connsiteX1" fmla="*/ 1034470 w 1034470"/>
              <a:gd name="connsiteY1" fmla="*/ 517235 h 1034470"/>
              <a:gd name="connsiteX2" fmla="*/ 517235 w 1034470"/>
              <a:gd name="connsiteY2" fmla="*/ 1034470 h 1034470"/>
              <a:gd name="connsiteX3" fmla="*/ 0 w 1034470"/>
              <a:gd name="connsiteY3" fmla="*/ 517235 h 1034470"/>
              <a:gd name="connsiteX4" fmla="*/ 517235 w 1034470"/>
              <a:gd name="connsiteY4" fmla="*/ 0 h 1034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4470" h="1034470">
                <a:moveTo>
                  <a:pt x="517235" y="0"/>
                </a:moveTo>
                <a:cubicBezTo>
                  <a:pt x="802896" y="0"/>
                  <a:pt x="1034470" y="231574"/>
                  <a:pt x="1034470" y="517235"/>
                </a:cubicBezTo>
                <a:cubicBezTo>
                  <a:pt x="1034470" y="802896"/>
                  <a:pt x="802896" y="1034470"/>
                  <a:pt x="517235" y="1034470"/>
                </a:cubicBezTo>
                <a:cubicBezTo>
                  <a:pt x="231574" y="1034470"/>
                  <a:pt x="0" y="802896"/>
                  <a:pt x="0" y="517235"/>
                </a:cubicBezTo>
                <a:cubicBezTo>
                  <a:pt x="0" y="231574"/>
                  <a:pt x="231574" y="0"/>
                  <a:pt x="517235" y="0"/>
                </a:cubicBezTo>
                <a:close/>
              </a:path>
            </a:pathLst>
          </a:custGeom>
        </p:spPr>
        <p:txBody>
          <a:bodyPr wrap="square" anchor="t" anchorCtr="1">
            <a:noAutofit/>
          </a:bodyPr>
          <a:lstStyle>
            <a:lvl1pPr marL="0" indent="0" algn="ctr">
              <a:buNone/>
              <a:defRPr sz="1200">
                <a:solidFill>
                  <a:srgbClr val="E0044E"/>
                </a:solidFill>
              </a:defRPr>
            </a:lvl1pPr>
          </a:lstStyle>
          <a:p>
            <a:r>
              <a:rPr lang="en-US"/>
              <a:t>Click icon to add picture</a:t>
            </a:r>
            <a:endParaRPr lang="en-GB"/>
          </a:p>
        </p:txBody>
      </p:sp>
      <p:sp>
        <p:nvSpPr>
          <p:cNvPr id="18" name="Text Placeholder 5">
            <a:extLst>
              <a:ext uri="{FF2B5EF4-FFF2-40B4-BE49-F238E27FC236}">
                <a16:creationId xmlns:a16="http://schemas.microsoft.com/office/drawing/2014/main" id="{96D01C92-D88A-44FD-996B-44B8F7602BE3}"/>
              </a:ext>
            </a:extLst>
          </p:cNvPr>
          <p:cNvSpPr>
            <a:spLocks noGrp="1"/>
          </p:cNvSpPr>
          <p:nvPr>
            <p:ph type="body" sz="quarter" idx="15" hasCustomPrompt="1"/>
          </p:nvPr>
        </p:nvSpPr>
        <p:spPr>
          <a:xfrm>
            <a:off x="5172707" y="5208023"/>
            <a:ext cx="1846587" cy="307777"/>
          </a:xfrm>
          <a:ln>
            <a:solidFill>
              <a:schemeClr val="bg1">
                <a:alpha val="0"/>
              </a:schemeClr>
            </a:solidFill>
          </a:ln>
        </p:spPr>
        <p:txBody>
          <a:bodyPr wrap="none" lIns="72000" anchor="ctr" anchorCtr="1">
            <a:spAutoFit/>
          </a:bodyPr>
          <a:lstStyle>
            <a:lvl1pPr marL="228600" indent="-228600" algn="ctr">
              <a:buClr>
                <a:srgbClr val="E0044E"/>
              </a:buClr>
              <a:buSzPct val="120000"/>
              <a:buFont typeface="Calibri" panose="020F0502020204030204" pitchFamily="34" charset="0"/>
              <a:buChar char="●"/>
              <a:defRPr sz="1400" b="0">
                <a:solidFill>
                  <a:schemeClr val="bg1"/>
                </a:solidFill>
                <a:latin typeface="Segoe UI" panose="020B0502040204020203" pitchFamily="34" charset="0"/>
                <a:cs typeface="Segoe UI" panose="020B0502040204020203" pitchFamily="34" charset="0"/>
              </a:defRPr>
            </a:lvl1pPr>
          </a:lstStyle>
          <a:p>
            <a:pPr lvl="0"/>
            <a:r>
              <a:rPr lang="en-US"/>
              <a:t>Name Placeholder</a:t>
            </a:r>
            <a:endParaRPr lang="en-GB"/>
          </a:p>
        </p:txBody>
      </p:sp>
      <p:sp>
        <p:nvSpPr>
          <p:cNvPr id="20" name="Text Placeholder 19">
            <a:extLst>
              <a:ext uri="{FF2B5EF4-FFF2-40B4-BE49-F238E27FC236}">
                <a16:creationId xmlns:a16="http://schemas.microsoft.com/office/drawing/2014/main" id="{A49EB3B9-59BB-46D6-B82C-78A8E8FDE546}"/>
              </a:ext>
            </a:extLst>
          </p:cNvPr>
          <p:cNvSpPr>
            <a:spLocks noGrp="1"/>
          </p:cNvSpPr>
          <p:nvPr>
            <p:ph type="body" sz="quarter" idx="16" hasCustomPrompt="1"/>
          </p:nvPr>
        </p:nvSpPr>
        <p:spPr>
          <a:xfrm>
            <a:off x="4762501" y="5601380"/>
            <a:ext cx="2667000" cy="518433"/>
          </a:xfrm>
        </p:spPr>
        <p:txBody>
          <a:bodyPr>
            <a:normAutofit/>
          </a:bodyPr>
          <a:lstStyle>
            <a:lvl1pPr marL="0" indent="0" algn="ctr">
              <a:buFont typeface="Arial" panose="020B0604020202020204" pitchFamily="34" charset="0"/>
              <a:buChar char="​"/>
              <a:defRPr sz="1200">
                <a:solidFill>
                  <a:schemeClr val="bg1"/>
                </a:solidFill>
              </a:defRPr>
            </a:lvl1pPr>
            <a:lvl2pPr>
              <a:buNone/>
              <a:defRPr/>
            </a:lvl2pPr>
          </a:lstStyle>
          <a:p>
            <a:pPr lvl="0"/>
            <a:r>
              <a:rPr lang="en-US"/>
              <a:t>TITLE PLACEHOLDER</a:t>
            </a:r>
          </a:p>
        </p:txBody>
      </p:sp>
      <p:sp>
        <p:nvSpPr>
          <p:cNvPr id="15" name="Slide Number Placeholder 2">
            <a:extLst>
              <a:ext uri="{FF2B5EF4-FFF2-40B4-BE49-F238E27FC236}">
                <a16:creationId xmlns:a16="http://schemas.microsoft.com/office/drawing/2014/main" id="{87D609B5-2ED6-40E5-9567-F2D2D66EE131}"/>
              </a:ext>
            </a:extLst>
          </p:cNvPr>
          <p:cNvSpPr txBox="1">
            <a:spLocks/>
          </p:cNvSpPr>
          <p:nvPr userDrawn="1"/>
        </p:nvSpPr>
        <p:spPr>
          <a:xfrm>
            <a:off x="11494008" y="6476999"/>
            <a:ext cx="382601" cy="228600"/>
          </a:xfrm>
          <a:prstGeom prst="rect">
            <a:avLst/>
          </a:prstGeom>
        </p:spPr>
        <p:txBody>
          <a:bodyPr vert="horz" lIns="91440" tIns="0" rIns="91440" bIns="0" rtlCol="0" anchor="ctr" anchorCtr="0"/>
          <a:lstStyle>
            <a:defPPr>
              <a:defRPr lang="en-US"/>
            </a:defPPr>
            <a:lvl1pPr algn="r">
              <a:defRPr sz="1000">
                <a:solidFill>
                  <a:srgbClr val="E0044E"/>
                </a:solidFill>
                <a:latin typeface="Segoe UI" panose="020B0502040204020203" pitchFamily="34" charset="0"/>
                <a:cs typeface="Segoe UI" panose="020B0502040204020203" pitchFamily="34" charset="0"/>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lvl="0"/>
            <a:fld id="{E20330FD-FE2A-483E-B0C7-29AD7FB3CAEB}" type="slidenum">
              <a:rPr lang="en-GB" noProof="0" smtClean="0">
                <a:solidFill>
                  <a:schemeClr val="bg1"/>
                </a:solidFill>
              </a:rPr>
              <a:pPr lvl="0"/>
              <a:t>‹#›</a:t>
            </a:fld>
            <a:endParaRPr lang="en-GB" noProof="0">
              <a:solidFill>
                <a:schemeClr val="bg1"/>
              </a:solidFill>
            </a:endParaRPr>
          </a:p>
        </p:txBody>
      </p:sp>
      <p:pic>
        <p:nvPicPr>
          <p:cNvPr id="16" name="Graphic 15">
            <a:extLst>
              <a:ext uri="{FF2B5EF4-FFF2-40B4-BE49-F238E27FC236}">
                <a16:creationId xmlns:a16="http://schemas.microsoft.com/office/drawing/2014/main" id="{037EFB28-211A-43AC-BF8E-0516DDDCAAA4}"/>
              </a:ext>
            </a:extLst>
          </p:cNvPr>
          <p:cNvPicPr>
            <a:picLocks/>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07040" y="6556248"/>
            <a:ext cx="813816" cy="82296"/>
          </a:xfrm>
          <a:prstGeom prst="rect">
            <a:avLst/>
          </a:prstGeom>
        </p:spPr>
      </p:pic>
    </p:spTree>
    <p:custDataLst>
      <p:tags r:id="rId1"/>
    </p:custDataLst>
    <p:extLst>
      <p:ext uri="{BB962C8B-B14F-4D97-AF65-F5344CB8AC3E}">
        <p14:creationId xmlns:p14="http://schemas.microsoft.com/office/powerpoint/2010/main" val="19790027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Quote and Logo">
    <p:bg>
      <p:bgPr>
        <a:solidFill>
          <a:schemeClr val="accent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0BC5FCF-5ECA-4460-8C32-3F4E911749C0}"/>
              </a:ext>
            </a:extLst>
          </p:cNvPr>
          <p:cNvSpPr>
            <a:spLocks noGrp="1"/>
          </p:cNvSpPr>
          <p:nvPr>
            <p:ph type="pic" sz="quarter" idx="17" hasCustomPrompt="1"/>
          </p:nvPr>
        </p:nvSpPr>
        <p:spPr>
          <a:xfrm>
            <a:off x="4654550" y="947303"/>
            <a:ext cx="2882900" cy="1038660"/>
          </a:xfrm>
        </p:spPr>
        <p:txBody>
          <a:bodyPr anchor="ctr" anchorCtr="0"/>
          <a:lstStyle>
            <a:lvl1pPr marL="0" indent="0" algn="ctr">
              <a:buNone/>
              <a:defRPr>
                <a:solidFill>
                  <a:schemeClr val="bg1"/>
                </a:solidFill>
              </a:defRPr>
            </a:lvl1pPr>
          </a:lstStyle>
          <a:p>
            <a:r>
              <a:rPr lang="en-US"/>
              <a:t>Logo Placeholder</a:t>
            </a:r>
          </a:p>
          <a:p>
            <a:r>
              <a:rPr lang="en-US"/>
              <a:t>Click icon to add image</a:t>
            </a:r>
            <a:endParaRPr lang="en-GB"/>
          </a:p>
        </p:txBody>
      </p:sp>
      <p:sp>
        <p:nvSpPr>
          <p:cNvPr id="3" name="Text Placeholder 2">
            <a:extLst>
              <a:ext uri="{FF2B5EF4-FFF2-40B4-BE49-F238E27FC236}">
                <a16:creationId xmlns:a16="http://schemas.microsoft.com/office/drawing/2014/main" id="{B2BB8E49-1F6F-46FF-9288-4D6D8DB9D556}"/>
              </a:ext>
            </a:extLst>
          </p:cNvPr>
          <p:cNvSpPr>
            <a:spLocks noGrp="1"/>
          </p:cNvSpPr>
          <p:nvPr>
            <p:ph type="body" sz="quarter" idx="13" hasCustomPrompt="1"/>
          </p:nvPr>
        </p:nvSpPr>
        <p:spPr>
          <a:xfrm>
            <a:off x="2026227" y="2436089"/>
            <a:ext cx="8139545" cy="2431475"/>
          </a:xfrm>
        </p:spPr>
        <p:txBody>
          <a:bodyPr>
            <a:normAutofit/>
          </a:bodyPr>
          <a:lstStyle>
            <a:lvl1pPr marL="0" indent="0" algn="ctr">
              <a:buFont typeface="Arial" panose="020B0604020202020204" pitchFamily="34" charset="0"/>
              <a:buChar char="​"/>
              <a:defRPr sz="2400">
                <a:solidFill>
                  <a:schemeClr val="bg1"/>
                </a:solidFill>
              </a:defRPr>
            </a:lvl1pPr>
          </a:lstStyle>
          <a:p>
            <a:pPr lvl="0"/>
            <a:r>
              <a:rPr lang="en-US" err="1"/>
              <a:t>Soluptat</a:t>
            </a:r>
            <a:r>
              <a:rPr lang="en-US"/>
              <a:t> </a:t>
            </a:r>
            <a:r>
              <a:rPr lang="en-US" err="1"/>
              <a:t>uriorum</a:t>
            </a:r>
            <a:r>
              <a:rPr lang="en-US"/>
              <a:t> </a:t>
            </a:r>
            <a:r>
              <a:rPr lang="en-US" err="1"/>
              <a:t>nonem</a:t>
            </a:r>
            <a:r>
              <a:rPr lang="en-US"/>
              <a:t> re </a:t>
            </a:r>
            <a:r>
              <a:rPr lang="en-US" err="1"/>
              <a:t>nectum</a:t>
            </a:r>
            <a:r>
              <a:rPr lang="en-US"/>
              <a:t> rem et is </a:t>
            </a:r>
            <a:r>
              <a:rPr lang="en-US" err="1"/>
              <a:t>eum</a:t>
            </a:r>
            <a:r>
              <a:rPr lang="en-US"/>
              <a:t> </a:t>
            </a:r>
            <a:r>
              <a:rPr lang="en-US" err="1"/>
              <a:t>nist</a:t>
            </a:r>
            <a:r>
              <a:rPr lang="en-US"/>
              <a:t>, sit </a:t>
            </a:r>
            <a:r>
              <a:rPr lang="en-US" err="1"/>
              <a:t>perios</a:t>
            </a:r>
            <a:r>
              <a:rPr lang="en-US"/>
              <a:t> re </a:t>
            </a:r>
            <a:r>
              <a:rPr lang="en-US" err="1"/>
              <a:t>nos</a:t>
            </a:r>
            <a:r>
              <a:rPr lang="en-US"/>
              <a:t> </a:t>
            </a:r>
            <a:r>
              <a:rPr lang="en-US" err="1"/>
              <a:t>modis</a:t>
            </a:r>
            <a:r>
              <a:rPr lang="en-US"/>
              <a:t> </a:t>
            </a:r>
            <a:r>
              <a:rPr lang="en-US" err="1"/>
              <a:t>earit</a:t>
            </a:r>
            <a:r>
              <a:rPr lang="en-US"/>
              <a:t> </a:t>
            </a:r>
            <a:r>
              <a:rPr lang="en-US" err="1"/>
              <a:t>destiis</a:t>
            </a:r>
            <a:r>
              <a:rPr lang="en-US"/>
              <a:t> </a:t>
            </a:r>
            <a:r>
              <a:rPr lang="en-US" err="1"/>
              <a:t>solupid</a:t>
            </a:r>
            <a:r>
              <a:rPr lang="en-US"/>
              <a:t> </a:t>
            </a:r>
            <a:r>
              <a:rPr lang="en-US" err="1"/>
              <a:t>endae</a:t>
            </a:r>
            <a:r>
              <a:rPr lang="en-US"/>
              <a:t> </a:t>
            </a:r>
            <a:r>
              <a:rPr lang="en-US" err="1"/>
              <a:t>nullat</a:t>
            </a:r>
            <a:r>
              <a:rPr lang="en-US"/>
              <a:t> vel molo </a:t>
            </a:r>
            <a:r>
              <a:rPr lang="en-US" err="1"/>
              <a:t>ellam</a:t>
            </a:r>
            <a:r>
              <a:rPr lang="en-US"/>
              <a:t> </a:t>
            </a:r>
            <a:r>
              <a:rPr lang="en-US" err="1"/>
              <a:t>harum</a:t>
            </a:r>
            <a:r>
              <a:rPr lang="en-US"/>
              <a:t> con </a:t>
            </a:r>
            <a:r>
              <a:rPr lang="en-US" err="1"/>
              <a:t>ni</a:t>
            </a:r>
            <a:r>
              <a:rPr lang="en-US"/>
              <a:t> </a:t>
            </a:r>
            <a:r>
              <a:rPr lang="en-US" err="1"/>
              <a:t>corenet</a:t>
            </a:r>
            <a:r>
              <a:rPr lang="en-US"/>
              <a:t> </a:t>
            </a:r>
            <a:r>
              <a:rPr lang="en-US" err="1"/>
              <a:t>uriberumque</a:t>
            </a:r>
            <a:r>
              <a:rPr lang="en-US"/>
              <a:t> </a:t>
            </a:r>
            <a:r>
              <a:rPr lang="en-US" err="1"/>
              <a:t>veria</a:t>
            </a:r>
            <a:r>
              <a:rPr lang="en-US"/>
              <a:t> </a:t>
            </a:r>
            <a:r>
              <a:rPr lang="en-US" err="1"/>
              <a:t>dit</a:t>
            </a:r>
            <a:r>
              <a:rPr lang="en-US"/>
              <a:t> </a:t>
            </a:r>
            <a:r>
              <a:rPr lang="en-US" err="1"/>
              <a:t>magnia</a:t>
            </a:r>
            <a:r>
              <a:rPr lang="en-US"/>
              <a:t> </a:t>
            </a:r>
            <a:r>
              <a:rPr lang="en-US" err="1"/>
              <a:t>sa</a:t>
            </a:r>
            <a:r>
              <a:rPr lang="en-US"/>
              <a:t> </a:t>
            </a:r>
            <a:r>
              <a:rPr lang="en-US" err="1"/>
              <a:t>dolorumquiae</a:t>
            </a:r>
            <a:r>
              <a:rPr lang="en-US"/>
              <a:t> </a:t>
            </a:r>
            <a:r>
              <a:rPr lang="en-US" err="1"/>
              <a:t>poreribus</a:t>
            </a:r>
            <a:r>
              <a:rPr lang="en-US"/>
              <a:t>, </a:t>
            </a:r>
            <a:r>
              <a:rPr lang="en-US" err="1"/>
              <a:t>nobitatin</a:t>
            </a:r>
            <a:r>
              <a:rPr lang="en-US"/>
              <a:t> prat </a:t>
            </a:r>
            <a:r>
              <a:rPr lang="en-US" err="1"/>
              <a:t>facersp</a:t>
            </a:r>
            <a:r>
              <a:rPr lang="en-US"/>
              <a:t> </a:t>
            </a:r>
            <a:r>
              <a:rPr lang="en-US" err="1"/>
              <a:t>elest</a:t>
            </a:r>
            <a:r>
              <a:rPr lang="en-US"/>
              <a:t>, </a:t>
            </a:r>
            <a:r>
              <a:rPr lang="en-US" err="1"/>
              <a:t>simagn</a:t>
            </a:r>
            <a:r>
              <a:rPr lang="en-US"/>
              <a:t>.</a:t>
            </a:r>
            <a:endParaRPr lang="en-GB"/>
          </a:p>
        </p:txBody>
      </p:sp>
      <p:sp>
        <p:nvSpPr>
          <p:cNvPr id="18" name="Text Placeholder 5">
            <a:extLst>
              <a:ext uri="{FF2B5EF4-FFF2-40B4-BE49-F238E27FC236}">
                <a16:creationId xmlns:a16="http://schemas.microsoft.com/office/drawing/2014/main" id="{96D01C92-D88A-44FD-996B-44B8F7602BE3}"/>
              </a:ext>
            </a:extLst>
          </p:cNvPr>
          <p:cNvSpPr>
            <a:spLocks noGrp="1"/>
          </p:cNvSpPr>
          <p:nvPr>
            <p:ph type="body" sz="quarter" idx="15" hasCustomPrompt="1"/>
          </p:nvPr>
        </p:nvSpPr>
        <p:spPr>
          <a:xfrm>
            <a:off x="5179119" y="5208023"/>
            <a:ext cx="1833763" cy="307777"/>
          </a:xfrm>
          <a:ln>
            <a:solidFill>
              <a:schemeClr val="bg1">
                <a:alpha val="0"/>
              </a:schemeClr>
            </a:solidFill>
          </a:ln>
        </p:spPr>
        <p:txBody>
          <a:bodyPr wrap="none" lIns="72000" anchor="ctr" anchorCtr="1">
            <a:spAutoFit/>
          </a:bodyPr>
          <a:lstStyle>
            <a:lvl1pPr marL="228600" indent="-228600" algn="ctr">
              <a:buClr>
                <a:srgbClr val="E0044E"/>
              </a:buClr>
              <a:buSzPct val="120000"/>
              <a:buFont typeface="Calibri" panose="020F0502020204030204" pitchFamily="34" charset="0"/>
              <a:buChar char="●"/>
              <a:defRPr sz="1400" b="0">
                <a:solidFill>
                  <a:schemeClr val="bg1"/>
                </a:solidFill>
                <a:latin typeface="Segoe UI" panose="020B0502040204020203" pitchFamily="34" charset="0"/>
                <a:cs typeface="Segoe UI" panose="020B0502040204020203" pitchFamily="34" charset="0"/>
              </a:defRPr>
            </a:lvl1pPr>
          </a:lstStyle>
          <a:p>
            <a:pPr lvl="0"/>
            <a:r>
              <a:rPr lang="en-US"/>
              <a:t>Name Placeholder</a:t>
            </a:r>
            <a:endParaRPr lang="en-GB"/>
          </a:p>
        </p:txBody>
      </p:sp>
      <p:sp>
        <p:nvSpPr>
          <p:cNvPr id="15" name="Text Placeholder 19">
            <a:extLst>
              <a:ext uri="{FF2B5EF4-FFF2-40B4-BE49-F238E27FC236}">
                <a16:creationId xmlns:a16="http://schemas.microsoft.com/office/drawing/2014/main" id="{D6CF55F7-449F-4887-B445-D494C115210F}"/>
              </a:ext>
            </a:extLst>
          </p:cNvPr>
          <p:cNvSpPr>
            <a:spLocks noGrp="1"/>
          </p:cNvSpPr>
          <p:nvPr>
            <p:ph type="body" sz="quarter" idx="16" hasCustomPrompt="1"/>
          </p:nvPr>
        </p:nvSpPr>
        <p:spPr>
          <a:xfrm>
            <a:off x="4762501" y="5601380"/>
            <a:ext cx="2667000" cy="518433"/>
          </a:xfrm>
        </p:spPr>
        <p:txBody>
          <a:bodyPr>
            <a:normAutofit/>
          </a:bodyPr>
          <a:lstStyle>
            <a:lvl1pPr marL="0" indent="0" algn="ctr">
              <a:buFont typeface="Arial" panose="020B0604020202020204" pitchFamily="34" charset="0"/>
              <a:buChar char="​"/>
              <a:defRPr sz="1200">
                <a:solidFill>
                  <a:schemeClr val="bg1"/>
                </a:solidFill>
                <a:latin typeface="Segoe UI" panose="020B0502040204020203" pitchFamily="34" charset="0"/>
                <a:cs typeface="Segoe UI" panose="020B0502040204020203" pitchFamily="34" charset="0"/>
              </a:defRPr>
            </a:lvl1pPr>
            <a:lvl2pPr>
              <a:buNone/>
              <a:defRPr/>
            </a:lvl2pPr>
          </a:lstStyle>
          <a:p>
            <a:pPr lvl="0"/>
            <a:r>
              <a:rPr lang="en-US"/>
              <a:t>TITLE PLACEHOLDER</a:t>
            </a:r>
          </a:p>
        </p:txBody>
      </p:sp>
      <p:sp>
        <p:nvSpPr>
          <p:cNvPr id="14" name="Slide Number Placeholder 2">
            <a:extLst>
              <a:ext uri="{FF2B5EF4-FFF2-40B4-BE49-F238E27FC236}">
                <a16:creationId xmlns:a16="http://schemas.microsoft.com/office/drawing/2014/main" id="{AFE8072D-E391-4D6C-9FD0-46C79D70C39F}"/>
              </a:ext>
            </a:extLst>
          </p:cNvPr>
          <p:cNvSpPr txBox="1">
            <a:spLocks/>
          </p:cNvSpPr>
          <p:nvPr userDrawn="1"/>
        </p:nvSpPr>
        <p:spPr>
          <a:xfrm>
            <a:off x="11494008" y="6476999"/>
            <a:ext cx="382601" cy="228600"/>
          </a:xfrm>
          <a:prstGeom prst="rect">
            <a:avLst/>
          </a:prstGeom>
        </p:spPr>
        <p:txBody>
          <a:bodyPr vert="horz" lIns="91440" tIns="0" rIns="91440" bIns="0" rtlCol="0" anchor="ctr" anchorCtr="0"/>
          <a:lstStyle>
            <a:defPPr>
              <a:defRPr lang="en-US"/>
            </a:defPPr>
            <a:lvl1pPr algn="r">
              <a:defRPr sz="1000">
                <a:solidFill>
                  <a:srgbClr val="E0044E"/>
                </a:solidFill>
                <a:latin typeface="Segoe UI" panose="020B0502040204020203" pitchFamily="34" charset="0"/>
                <a:cs typeface="Segoe UI" panose="020B0502040204020203" pitchFamily="34" charset="0"/>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lvl="0"/>
            <a:fld id="{E20330FD-FE2A-483E-B0C7-29AD7FB3CAEB}" type="slidenum">
              <a:rPr lang="en-GB" noProof="0" smtClean="0">
                <a:solidFill>
                  <a:schemeClr val="bg1"/>
                </a:solidFill>
              </a:rPr>
              <a:pPr lvl="0"/>
              <a:t>‹#›</a:t>
            </a:fld>
            <a:endParaRPr lang="en-GB" noProof="0">
              <a:solidFill>
                <a:schemeClr val="bg1"/>
              </a:solidFill>
            </a:endParaRPr>
          </a:p>
        </p:txBody>
      </p:sp>
      <p:pic>
        <p:nvPicPr>
          <p:cNvPr id="16" name="Graphic 15">
            <a:extLst>
              <a:ext uri="{FF2B5EF4-FFF2-40B4-BE49-F238E27FC236}">
                <a16:creationId xmlns:a16="http://schemas.microsoft.com/office/drawing/2014/main" id="{49C97C0D-1BBA-43F2-A2AD-57629BD41C4B}"/>
              </a:ext>
            </a:extLst>
          </p:cNvPr>
          <p:cNvPicPr>
            <a:picLocks/>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07040" y="6556248"/>
            <a:ext cx="813816" cy="82296"/>
          </a:xfrm>
          <a:prstGeom prst="rect">
            <a:avLst/>
          </a:prstGeom>
        </p:spPr>
      </p:pic>
    </p:spTree>
    <p:custDataLst>
      <p:tags r:id="rId1"/>
    </p:custDataLst>
    <p:extLst>
      <p:ext uri="{BB962C8B-B14F-4D97-AF65-F5344CB8AC3E}">
        <p14:creationId xmlns:p14="http://schemas.microsoft.com/office/powerpoint/2010/main" val="13196483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estimonials (Three)">
    <p:bg>
      <p:bgPr>
        <a:solidFill>
          <a:schemeClr val="accent1"/>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D5705EC5-B505-4186-8341-23F0B2602E75}"/>
              </a:ext>
            </a:extLst>
          </p:cNvPr>
          <p:cNvSpPr>
            <a:spLocks noGrp="1"/>
          </p:cNvSpPr>
          <p:nvPr>
            <p:ph type="body" sz="quarter" idx="17" hasCustomPrompt="1"/>
          </p:nvPr>
        </p:nvSpPr>
        <p:spPr>
          <a:xfrm>
            <a:off x="587375" y="2209737"/>
            <a:ext cx="3265200" cy="3676938"/>
          </a:xfrm>
          <a:solidFill>
            <a:srgbClr val="301038"/>
          </a:solidFill>
        </p:spPr>
        <p:txBody>
          <a:bodyPr/>
          <a:lstStyle>
            <a:lvl1pPr marL="0" indent="0">
              <a:buNone/>
              <a:defRPr/>
            </a:lvl1pPr>
          </a:lstStyle>
          <a:p>
            <a:pPr lvl="0"/>
            <a:r>
              <a:rPr lang="en-US"/>
              <a:t> </a:t>
            </a:r>
            <a:endParaRPr lang="en-GB"/>
          </a:p>
        </p:txBody>
      </p:sp>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5" y="222559"/>
            <a:ext cx="10980738" cy="697057"/>
          </a:xfrm>
        </p:spPr>
        <p:txBody>
          <a:bodyPr/>
          <a:lstStyle>
            <a:lvl1pPr>
              <a:defRPr>
                <a:solidFill>
                  <a:schemeClr val="bg1"/>
                </a:solidFill>
              </a:defRPr>
            </a:lvl1pPr>
          </a:lstStyle>
          <a:p>
            <a:r>
              <a:rPr lang="en-US"/>
              <a:t>H1 placeholder.</a:t>
            </a:r>
            <a:endParaRPr lang="en-GB"/>
          </a:p>
        </p:txBody>
      </p:sp>
      <p:sp>
        <p:nvSpPr>
          <p:cNvPr id="20" name="Text Placeholder 8">
            <a:extLst>
              <a:ext uri="{FF2B5EF4-FFF2-40B4-BE49-F238E27FC236}">
                <a16:creationId xmlns:a16="http://schemas.microsoft.com/office/drawing/2014/main" id="{46FC39C1-A222-47DE-BDC2-F0DC1EF1C0F9}"/>
              </a:ext>
            </a:extLst>
          </p:cNvPr>
          <p:cNvSpPr>
            <a:spLocks noGrp="1"/>
          </p:cNvSpPr>
          <p:nvPr>
            <p:ph type="body" sz="quarter" idx="29" hasCustomPrompt="1"/>
          </p:nvPr>
        </p:nvSpPr>
        <p:spPr>
          <a:xfrm>
            <a:off x="8302913" y="2209737"/>
            <a:ext cx="3265200" cy="3676938"/>
          </a:xfrm>
          <a:solidFill>
            <a:srgbClr val="301038"/>
          </a:solidFill>
        </p:spPr>
        <p:txBody>
          <a:bodyPr/>
          <a:lstStyle>
            <a:lvl1pPr marL="0" indent="0">
              <a:buNone/>
              <a:defRPr/>
            </a:lvl1pPr>
          </a:lstStyle>
          <a:p>
            <a:pPr lvl="0"/>
            <a:r>
              <a:rPr lang="en-US"/>
              <a:t> </a:t>
            </a:r>
            <a:endParaRPr lang="en-GB"/>
          </a:p>
        </p:txBody>
      </p:sp>
      <p:sp>
        <p:nvSpPr>
          <p:cNvPr id="31" name="Text Placeholder 8">
            <a:extLst>
              <a:ext uri="{FF2B5EF4-FFF2-40B4-BE49-F238E27FC236}">
                <a16:creationId xmlns:a16="http://schemas.microsoft.com/office/drawing/2014/main" id="{B9EA5752-029F-4F91-A791-539D3F525874}"/>
              </a:ext>
            </a:extLst>
          </p:cNvPr>
          <p:cNvSpPr>
            <a:spLocks noGrp="1"/>
          </p:cNvSpPr>
          <p:nvPr>
            <p:ph type="body" sz="quarter" idx="33" hasCustomPrompt="1"/>
          </p:nvPr>
        </p:nvSpPr>
        <p:spPr>
          <a:xfrm>
            <a:off x="4445144" y="2209737"/>
            <a:ext cx="3265200" cy="3676938"/>
          </a:xfrm>
          <a:solidFill>
            <a:srgbClr val="301038"/>
          </a:solidFill>
        </p:spPr>
        <p:txBody>
          <a:bodyPr/>
          <a:lstStyle>
            <a:lvl1pPr marL="0" indent="0">
              <a:buNone/>
              <a:defRPr/>
            </a:lvl1pPr>
          </a:lstStyle>
          <a:p>
            <a:pPr lvl="0"/>
            <a:r>
              <a:rPr lang="en-US"/>
              <a:t> </a:t>
            </a:r>
            <a:endParaRPr lang="en-GB"/>
          </a:p>
        </p:txBody>
      </p:sp>
      <p:sp>
        <p:nvSpPr>
          <p:cNvPr id="23" name="Picture Placeholder 7">
            <a:extLst>
              <a:ext uri="{FF2B5EF4-FFF2-40B4-BE49-F238E27FC236}">
                <a16:creationId xmlns:a16="http://schemas.microsoft.com/office/drawing/2014/main" id="{C66ADEFB-A137-4737-8F6F-5172FF3BF911}"/>
              </a:ext>
            </a:extLst>
          </p:cNvPr>
          <p:cNvSpPr>
            <a:spLocks noGrp="1"/>
          </p:cNvSpPr>
          <p:nvPr>
            <p:ph type="pic" sz="quarter" idx="36" hasCustomPrompt="1"/>
          </p:nvPr>
        </p:nvSpPr>
        <p:spPr>
          <a:xfrm>
            <a:off x="1285042" y="2428630"/>
            <a:ext cx="1869866" cy="673680"/>
          </a:xfrm>
        </p:spPr>
        <p:txBody>
          <a:bodyPr anchor="ctr" anchorCtr="0"/>
          <a:lstStyle>
            <a:lvl1pPr marL="0" indent="0" algn="ctr">
              <a:buNone/>
              <a:defRPr>
                <a:solidFill>
                  <a:schemeClr val="bg1"/>
                </a:solidFill>
              </a:defRPr>
            </a:lvl1pPr>
          </a:lstStyle>
          <a:p>
            <a:r>
              <a:rPr lang="en-US"/>
              <a:t>Logo Placeholder</a:t>
            </a:r>
            <a:endParaRPr lang="en-GB"/>
          </a:p>
        </p:txBody>
      </p:sp>
      <p:sp>
        <p:nvSpPr>
          <p:cNvPr id="24" name="Text Placeholder 5">
            <a:extLst>
              <a:ext uri="{FF2B5EF4-FFF2-40B4-BE49-F238E27FC236}">
                <a16:creationId xmlns:a16="http://schemas.microsoft.com/office/drawing/2014/main" id="{E2097300-EFF4-46E7-93A8-BDD6E8946DF6}"/>
              </a:ext>
            </a:extLst>
          </p:cNvPr>
          <p:cNvSpPr>
            <a:spLocks noGrp="1"/>
          </p:cNvSpPr>
          <p:nvPr>
            <p:ph type="body" sz="quarter" idx="37" hasCustomPrompt="1"/>
          </p:nvPr>
        </p:nvSpPr>
        <p:spPr>
          <a:xfrm>
            <a:off x="802262" y="5069987"/>
            <a:ext cx="2835425" cy="291618"/>
          </a:xfrm>
        </p:spPr>
        <p:txBody>
          <a:bodyPr wrap="square" lIns="72000" anchor="t" anchorCtr="1">
            <a:normAutofit/>
          </a:bodyPr>
          <a:lstStyle>
            <a:lvl1pPr marL="228600" indent="-228600" algn="ctr">
              <a:buClr>
                <a:srgbClr val="E0044E"/>
              </a:buClr>
              <a:buSzPct val="120000"/>
              <a:buFont typeface="Calibri" panose="020F0502020204030204" pitchFamily="34" charset="0"/>
              <a:buChar char="●"/>
              <a:defRPr sz="1400" b="0">
                <a:solidFill>
                  <a:schemeClr val="bg1"/>
                </a:solidFill>
                <a:latin typeface="Segoe UI" panose="020B0502040204020203" pitchFamily="34" charset="0"/>
                <a:cs typeface="Segoe UI" panose="020B0502040204020203" pitchFamily="34" charset="0"/>
              </a:defRPr>
            </a:lvl1pPr>
          </a:lstStyle>
          <a:p>
            <a:pPr lvl="0"/>
            <a:r>
              <a:rPr lang="en-US"/>
              <a:t>Name Placeholder</a:t>
            </a:r>
            <a:endParaRPr lang="en-GB"/>
          </a:p>
        </p:txBody>
      </p:sp>
      <p:sp>
        <p:nvSpPr>
          <p:cNvPr id="25" name="Text Placeholder 19">
            <a:extLst>
              <a:ext uri="{FF2B5EF4-FFF2-40B4-BE49-F238E27FC236}">
                <a16:creationId xmlns:a16="http://schemas.microsoft.com/office/drawing/2014/main" id="{D22B7069-9B4F-464E-9F4F-5073F310B809}"/>
              </a:ext>
            </a:extLst>
          </p:cNvPr>
          <p:cNvSpPr>
            <a:spLocks noGrp="1"/>
          </p:cNvSpPr>
          <p:nvPr>
            <p:ph type="body" sz="quarter" idx="16" hasCustomPrompt="1"/>
          </p:nvPr>
        </p:nvSpPr>
        <p:spPr>
          <a:xfrm>
            <a:off x="802263" y="5455265"/>
            <a:ext cx="2835424" cy="291619"/>
          </a:xfrm>
        </p:spPr>
        <p:txBody>
          <a:bodyPr anchor="t" anchorCtr="1">
            <a:normAutofit/>
          </a:bodyPr>
          <a:lstStyle>
            <a:lvl1pPr marL="0" indent="0" algn="ctr">
              <a:buFont typeface="Arial" panose="020B0604020202020204" pitchFamily="34" charset="0"/>
              <a:buChar char="​"/>
              <a:defRPr sz="1200">
                <a:solidFill>
                  <a:schemeClr val="bg1"/>
                </a:solidFill>
                <a:latin typeface="Segoe UI" panose="020B0502040204020203" pitchFamily="34" charset="0"/>
                <a:cs typeface="Segoe UI" panose="020B0502040204020203" pitchFamily="34" charset="0"/>
              </a:defRPr>
            </a:lvl1pPr>
            <a:lvl2pPr>
              <a:buNone/>
              <a:defRPr/>
            </a:lvl2pPr>
          </a:lstStyle>
          <a:p>
            <a:pPr lvl="0"/>
            <a:r>
              <a:rPr lang="en-US"/>
              <a:t>TITLE PLACEHOLDER</a:t>
            </a:r>
          </a:p>
        </p:txBody>
      </p:sp>
      <p:sp>
        <p:nvSpPr>
          <p:cNvPr id="26" name="Picture Placeholder 7">
            <a:extLst>
              <a:ext uri="{FF2B5EF4-FFF2-40B4-BE49-F238E27FC236}">
                <a16:creationId xmlns:a16="http://schemas.microsoft.com/office/drawing/2014/main" id="{D7FCD0FA-349F-453F-A403-A4FA508ECDF1}"/>
              </a:ext>
            </a:extLst>
          </p:cNvPr>
          <p:cNvSpPr>
            <a:spLocks noGrp="1"/>
          </p:cNvSpPr>
          <p:nvPr>
            <p:ph type="pic" sz="quarter" idx="38" hasCustomPrompt="1"/>
          </p:nvPr>
        </p:nvSpPr>
        <p:spPr>
          <a:xfrm>
            <a:off x="9002167" y="2428630"/>
            <a:ext cx="1869866" cy="673680"/>
          </a:xfrm>
        </p:spPr>
        <p:txBody>
          <a:bodyPr anchor="ctr" anchorCtr="0"/>
          <a:lstStyle>
            <a:lvl1pPr marL="0" indent="0" algn="ctr">
              <a:buNone/>
              <a:defRPr>
                <a:solidFill>
                  <a:schemeClr val="bg1"/>
                </a:solidFill>
              </a:defRPr>
            </a:lvl1pPr>
          </a:lstStyle>
          <a:p>
            <a:r>
              <a:rPr lang="en-US"/>
              <a:t>Logo Placeholder</a:t>
            </a:r>
            <a:endParaRPr lang="en-GB"/>
          </a:p>
        </p:txBody>
      </p:sp>
      <p:sp>
        <p:nvSpPr>
          <p:cNvPr id="27" name="Picture Placeholder 7">
            <a:extLst>
              <a:ext uri="{FF2B5EF4-FFF2-40B4-BE49-F238E27FC236}">
                <a16:creationId xmlns:a16="http://schemas.microsoft.com/office/drawing/2014/main" id="{A90C7DD2-968C-41BA-89BA-EC937018509F}"/>
              </a:ext>
            </a:extLst>
          </p:cNvPr>
          <p:cNvSpPr>
            <a:spLocks noGrp="1"/>
          </p:cNvSpPr>
          <p:nvPr>
            <p:ph type="pic" sz="quarter" idx="39" hasCustomPrompt="1"/>
          </p:nvPr>
        </p:nvSpPr>
        <p:spPr>
          <a:xfrm>
            <a:off x="5142811" y="2428630"/>
            <a:ext cx="1869866" cy="673680"/>
          </a:xfrm>
        </p:spPr>
        <p:txBody>
          <a:bodyPr anchor="ctr" anchorCtr="0"/>
          <a:lstStyle>
            <a:lvl1pPr marL="0" indent="0" algn="ctr">
              <a:buNone/>
              <a:defRPr>
                <a:solidFill>
                  <a:schemeClr val="bg1"/>
                </a:solidFill>
              </a:defRPr>
            </a:lvl1pPr>
          </a:lstStyle>
          <a:p>
            <a:r>
              <a:rPr lang="en-US"/>
              <a:t>Logo Placeholder</a:t>
            </a:r>
            <a:endParaRPr lang="en-GB"/>
          </a:p>
        </p:txBody>
      </p:sp>
      <p:sp>
        <p:nvSpPr>
          <p:cNvPr id="28" name="Text Placeholder 5">
            <a:extLst>
              <a:ext uri="{FF2B5EF4-FFF2-40B4-BE49-F238E27FC236}">
                <a16:creationId xmlns:a16="http://schemas.microsoft.com/office/drawing/2014/main" id="{F21BA2A1-2BC4-45CB-A483-BB185D98D364}"/>
              </a:ext>
            </a:extLst>
          </p:cNvPr>
          <p:cNvSpPr>
            <a:spLocks noGrp="1"/>
          </p:cNvSpPr>
          <p:nvPr>
            <p:ph type="body" sz="quarter" idx="40" hasCustomPrompt="1"/>
          </p:nvPr>
        </p:nvSpPr>
        <p:spPr>
          <a:xfrm>
            <a:off x="4660032" y="5069987"/>
            <a:ext cx="2835425" cy="291618"/>
          </a:xfrm>
        </p:spPr>
        <p:txBody>
          <a:bodyPr wrap="square" lIns="72000" anchor="t" anchorCtr="1">
            <a:normAutofit/>
          </a:bodyPr>
          <a:lstStyle>
            <a:lvl1pPr marL="228600" indent="-228600" algn="ctr">
              <a:buClr>
                <a:srgbClr val="E0044E"/>
              </a:buClr>
              <a:buSzPct val="120000"/>
              <a:buFont typeface="Calibri" panose="020F0502020204030204" pitchFamily="34" charset="0"/>
              <a:buChar char="●"/>
              <a:defRPr sz="1400" b="0">
                <a:solidFill>
                  <a:schemeClr val="bg1"/>
                </a:solidFill>
                <a:latin typeface="Segoe UI" panose="020B0502040204020203" pitchFamily="34" charset="0"/>
                <a:cs typeface="Segoe UI" panose="020B0502040204020203" pitchFamily="34" charset="0"/>
              </a:defRPr>
            </a:lvl1pPr>
          </a:lstStyle>
          <a:p>
            <a:pPr lvl="0"/>
            <a:r>
              <a:rPr lang="en-US"/>
              <a:t>Name Placeholder</a:t>
            </a:r>
            <a:endParaRPr lang="en-GB"/>
          </a:p>
        </p:txBody>
      </p:sp>
      <p:sp>
        <p:nvSpPr>
          <p:cNvPr id="30" name="Text Placeholder 19">
            <a:extLst>
              <a:ext uri="{FF2B5EF4-FFF2-40B4-BE49-F238E27FC236}">
                <a16:creationId xmlns:a16="http://schemas.microsoft.com/office/drawing/2014/main" id="{E896DE2F-8D06-4209-9C72-FF6DBAD66636}"/>
              </a:ext>
            </a:extLst>
          </p:cNvPr>
          <p:cNvSpPr>
            <a:spLocks noGrp="1"/>
          </p:cNvSpPr>
          <p:nvPr>
            <p:ph type="body" sz="quarter" idx="41" hasCustomPrompt="1"/>
          </p:nvPr>
        </p:nvSpPr>
        <p:spPr>
          <a:xfrm>
            <a:off x="4660032" y="5455265"/>
            <a:ext cx="2835424" cy="291619"/>
          </a:xfrm>
        </p:spPr>
        <p:txBody>
          <a:bodyPr anchor="t" anchorCtr="1">
            <a:normAutofit/>
          </a:bodyPr>
          <a:lstStyle>
            <a:lvl1pPr marL="0" indent="0" algn="ctr">
              <a:buFont typeface="Arial" panose="020B0604020202020204" pitchFamily="34" charset="0"/>
              <a:buChar char="​"/>
              <a:defRPr sz="1200">
                <a:solidFill>
                  <a:schemeClr val="bg1"/>
                </a:solidFill>
                <a:latin typeface="Segoe UI" panose="020B0502040204020203" pitchFamily="34" charset="0"/>
                <a:cs typeface="Segoe UI" panose="020B0502040204020203" pitchFamily="34" charset="0"/>
              </a:defRPr>
            </a:lvl1pPr>
            <a:lvl2pPr>
              <a:buNone/>
              <a:defRPr/>
            </a:lvl2pPr>
          </a:lstStyle>
          <a:p>
            <a:pPr lvl="0"/>
            <a:r>
              <a:rPr lang="en-US"/>
              <a:t>TITLE PLACEHOLDER</a:t>
            </a:r>
          </a:p>
        </p:txBody>
      </p:sp>
      <p:sp>
        <p:nvSpPr>
          <p:cNvPr id="35" name="Text Placeholder 5">
            <a:extLst>
              <a:ext uri="{FF2B5EF4-FFF2-40B4-BE49-F238E27FC236}">
                <a16:creationId xmlns:a16="http://schemas.microsoft.com/office/drawing/2014/main" id="{6A7DF590-509C-4712-9106-AC2746D095E8}"/>
              </a:ext>
            </a:extLst>
          </p:cNvPr>
          <p:cNvSpPr>
            <a:spLocks noGrp="1"/>
          </p:cNvSpPr>
          <p:nvPr>
            <p:ph type="body" sz="quarter" idx="42" hasCustomPrompt="1"/>
          </p:nvPr>
        </p:nvSpPr>
        <p:spPr>
          <a:xfrm>
            <a:off x="8505495" y="5069987"/>
            <a:ext cx="2835425" cy="291618"/>
          </a:xfrm>
        </p:spPr>
        <p:txBody>
          <a:bodyPr wrap="square" lIns="72000" anchor="t" anchorCtr="1">
            <a:normAutofit/>
          </a:bodyPr>
          <a:lstStyle>
            <a:lvl1pPr marL="228600" indent="-228600" algn="ctr">
              <a:buClr>
                <a:srgbClr val="E0044E"/>
              </a:buClr>
              <a:buSzPct val="120000"/>
              <a:buFont typeface="Calibri" panose="020F0502020204030204" pitchFamily="34" charset="0"/>
              <a:buChar char="●"/>
              <a:defRPr sz="1400" b="0">
                <a:solidFill>
                  <a:schemeClr val="bg1"/>
                </a:solidFill>
                <a:latin typeface="Segoe UI" panose="020B0502040204020203" pitchFamily="34" charset="0"/>
                <a:cs typeface="Segoe UI" panose="020B0502040204020203" pitchFamily="34" charset="0"/>
              </a:defRPr>
            </a:lvl1pPr>
          </a:lstStyle>
          <a:p>
            <a:pPr lvl="0"/>
            <a:r>
              <a:rPr lang="en-US"/>
              <a:t>Name Placeholder</a:t>
            </a:r>
            <a:endParaRPr lang="en-GB"/>
          </a:p>
        </p:txBody>
      </p:sp>
      <p:sp>
        <p:nvSpPr>
          <p:cNvPr id="36" name="Text Placeholder 19">
            <a:extLst>
              <a:ext uri="{FF2B5EF4-FFF2-40B4-BE49-F238E27FC236}">
                <a16:creationId xmlns:a16="http://schemas.microsoft.com/office/drawing/2014/main" id="{DF79A31E-500A-451E-B64E-84EC273FAB32}"/>
              </a:ext>
            </a:extLst>
          </p:cNvPr>
          <p:cNvSpPr>
            <a:spLocks noGrp="1"/>
          </p:cNvSpPr>
          <p:nvPr>
            <p:ph type="body" sz="quarter" idx="43" hasCustomPrompt="1"/>
          </p:nvPr>
        </p:nvSpPr>
        <p:spPr>
          <a:xfrm>
            <a:off x="8505496" y="5455265"/>
            <a:ext cx="2835424" cy="291619"/>
          </a:xfrm>
        </p:spPr>
        <p:txBody>
          <a:bodyPr anchor="t" anchorCtr="1">
            <a:normAutofit/>
          </a:bodyPr>
          <a:lstStyle>
            <a:lvl1pPr marL="0" indent="0" algn="ctr">
              <a:buFont typeface="Arial" panose="020B0604020202020204" pitchFamily="34" charset="0"/>
              <a:buChar char="​"/>
              <a:defRPr sz="1200">
                <a:solidFill>
                  <a:schemeClr val="bg1"/>
                </a:solidFill>
                <a:latin typeface="Segoe UI" panose="020B0502040204020203" pitchFamily="34" charset="0"/>
                <a:cs typeface="Segoe UI" panose="020B0502040204020203" pitchFamily="34" charset="0"/>
              </a:defRPr>
            </a:lvl1pPr>
            <a:lvl2pPr>
              <a:buNone/>
              <a:defRPr/>
            </a:lvl2pPr>
          </a:lstStyle>
          <a:p>
            <a:pPr lvl="0"/>
            <a:r>
              <a:rPr lang="en-US"/>
              <a:t>TITLE PLACEHOLDER</a:t>
            </a:r>
          </a:p>
        </p:txBody>
      </p:sp>
      <p:sp>
        <p:nvSpPr>
          <p:cNvPr id="37" name="Text Placeholder 21">
            <a:extLst>
              <a:ext uri="{FF2B5EF4-FFF2-40B4-BE49-F238E27FC236}">
                <a16:creationId xmlns:a16="http://schemas.microsoft.com/office/drawing/2014/main" id="{20B63261-073E-417F-979D-DFF485A3F9DA}"/>
              </a:ext>
            </a:extLst>
          </p:cNvPr>
          <p:cNvSpPr>
            <a:spLocks noGrp="1"/>
          </p:cNvSpPr>
          <p:nvPr>
            <p:ph type="body" sz="quarter" idx="44" hasCustomPrompt="1"/>
          </p:nvPr>
        </p:nvSpPr>
        <p:spPr>
          <a:xfrm>
            <a:off x="587375" y="1426464"/>
            <a:ext cx="10980738" cy="697056"/>
          </a:xfrm>
        </p:spPr>
        <p:txBody>
          <a:bodyPr/>
          <a:lstStyle>
            <a:lvl1pPr marL="0" indent="0">
              <a:buFont typeface="Arial" panose="020B0604020202020204" pitchFamily="34" charset="0"/>
              <a:buChar char="​"/>
              <a:defRPr>
                <a:solidFill>
                  <a:schemeClr val="bg1"/>
                </a:solidFill>
              </a:defRPr>
            </a:lvl1pPr>
            <a:lvl2pPr>
              <a:buNone/>
              <a:defRPr/>
            </a:lvl2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pPr lvl="0"/>
            <a:endParaRPr lang="en-US"/>
          </a:p>
        </p:txBody>
      </p:sp>
      <p:sp>
        <p:nvSpPr>
          <p:cNvPr id="38" name="Text Placeholder 54">
            <a:extLst>
              <a:ext uri="{FF2B5EF4-FFF2-40B4-BE49-F238E27FC236}">
                <a16:creationId xmlns:a16="http://schemas.microsoft.com/office/drawing/2014/main" id="{7F22DDB9-94C5-430D-9C09-836C59FA41C9}"/>
              </a:ext>
            </a:extLst>
          </p:cNvPr>
          <p:cNvSpPr>
            <a:spLocks noGrp="1"/>
          </p:cNvSpPr>
          <p:nvPr>
            <p:ph type="body" sz="quarter" idx="46" hasCustomPrompt="1"/>
          </p:nvPr>
        </p:nvSpPr>
        <p:spPr>
          <a:xfrm>
            <a:off x="802262" y="3316391"/>
            <a:ext cx="2835424" cy="1666573"/>
          </a:xfrm>
        </p:spPr>
        <p:txBody>
          <a:bodyPr>
            <a:normAutofit/>
          </a:bodyPr>
          <a:lstStyle>
            <a:lvl1pPr marL="0" indent="0" algn="ctr">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pPr lvl="0"/>
            <a:endParaRPr lang="en-US"/>
          </a:p>
        </p:txBody>
      </p:sp>
      <p:sp>
        <p:nvSpPr>
          <p:cNvPr id="39" name="Text Placeholder 54">
            <a:extLst>
              <a:ext uri="{FF2B5EF4-FFF2-40B4-BE49-F238E27FC236}">
                <a16:creationId xmlns:a16="http://schemas.microsoft.com/office/drawing/2014/main" id="{6CC5E252-D21A-4CD6-B54B-5FE303D6BECD}"/>
              </a:ext>
            </a:extLst>
          </p:cNvPr>
          <p:cNvSpPr>
            <a:spLocks noGrp="1"/>
          </p:cNvSpPr>
          <p:nvPr>
            <p:ph type="body" sz="quarter" idx="47" hasCustomPrompt="1"/>
          </p:nvPr>
        </p:nvSpPr>
        <p:spPr>
          <a:xfrm>
            <a:off x="4660032" y="3316391"/>
            <a:ext cx="2835424" cy="1666573"/>
          </a:xfrm>
        </p:spPr>
        <p:txBody>
          <a:bodyPr>
            <a:normAutofit/>
          </a:bodyPr>
          <a:lstStyle>
            <a:lvl1pPr marL="0" indent="0" algn="ctr">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40" name="Text Placeholder 54">
            <a:extLst>
              <a:ext uri="{FF2B5EF4-FFF2-40B4-BE49-F238E27FC236}">
                <a16:creationId xmlns:a16="http://schemas.microsoft.com/office/drawing/2014/main" id="{330AC4DC-7FDA-48AA-A129-07F3E2BA0EDE}"/>
              </a:ext>
            </a:extLst>
          </p:cNvPr>
          <p:cNvSpPr>
            <a:spLocks noGrp="1"/>
          </p:cNvSpPr>
          <p:nvPr>
            <p:ph type="body" sz="quarter" idx="48" hasCustomPrompt="1"/>
          </p:nvPr>
        </p:nvSpPr>
        <p:spPr>
          <a:xfrm>
            <a:off x="8519389" y="3316391"/>
            <a:ext cx="2835424" cy="1666573"/>
          </a:xfrm>
        </p:spPr>
        <p:txBody>
          <a:bodyPr>
            <a:normAutofit/>
          </a:bodyPr>
          <a:lstStyle>
            <a:lvl1pPr marL="0" indent="0" algn="ctr">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41" name="Slide Number Placeholder 2">
            <a:extLst>
              <a:ext uri="{FF2B5EF4-FFF2-40B4-BE49-F238E27FC236}">
                <a16:creationId xmlns:a16="http://schemas.microsoft.com/office/drawing/2014/main" id="{EF4FE2A7-AD46-4FF2-8D4F-D5A8CFB3D526}"/>
              </a:ext>
            </a:extLst>
          </p:cNvPr>
          <p:cNvSpPr txBox="1">
            <a:spLocks/>
          </p:cNvSpPr>
          <p:nvPr userDrawn="1"/>
        </p:nvSpPr>
        <p:spPr>
          <a:xfrm>
            <a:off x="11494008" y="6476999"/>
            <a:ext cx="382601" cy="228600"/>
          </a:xfrm>
          <a:prstGeom prst="rect">
            <a:avLst/>
          </a:prstGeom>
        </p:spPr>
        <p:txBody>
          <a:bodyPr vert="horz" lIns="91440" tIns="0" rIns="91440" bIns="0" rtlCol="0" anchor="ctr" anchorCtr="0"/>
          <a:lstStyle>
            <a:defPPr>
              <a:defRPr lang="en-US"/>
            </a:defPPr>
            <a:lvl1pPr algn="r">
              <a:defRPr sz="1000">
                <a:solidFill>
                  <a:srgbClr val="E0044E"/>
                </a:solidFill>
                <a:latin typeface="Segoe UI" panose="020B0502040204020203" pitchFamily="34" charset="0"/>
                <a:cs typeface="Segoe UI" panose="020B0502040204020203" pitchFamily="34" charset="0"/>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lvl="0"/>
            <a:fld id="{E20330FD-FE2A-483E-B0C7-29AD7FB3CAEB}" type="slidenum">
              <a:rPr lang="en-GB" noProof="0" smtClean="0">
                <a:solidFill>
                  <a:schemeClr val="bg1"/>
                </a:solidFill>
              </a:rPr>
              <a:pPr lvl="0"/>
              <a:t>‹#›</a:t>
            </a:fld>
            <a:endParaRPr lang="en-GB" noProof="0">
              <a:solidFill>
                <a:schemeClr val="bg1"/>
              </a:solidFill>
            </a:endParaRPr>
          </a:p>
        </p:txBody>
      </p:sp>
      <p:pic>
        <p:nvPicPr>
          <p:cNvPr id="42" name="Graphic 41">
            <a:extLst>
              <a:ext uri="{FF2B5EF4-FFF2-40B4-BE49-F238E27FC236}">
                <a16:creationId xmlns:a16="http://schemas.microsoft.com/office/drawing/2014/main" id="{7F485E82-FA0A-465A-9923-805E95628F27}"/>
              </a:ext>
            </a:extLst>
          </p:cNvPr>
          <p:cNvPicPr>
            <a:picLocks/>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07040" y="6556248"/>
            <a:ext cx="813816" cy="82296"/>
          </a:xfrm>
          <a:prstGeom prst="rect">
            <a:avLst/>
          </a:prstGeom>
        </p:spPr>
      </p:pic>
    </p:spTree>
    <p:custDataLst>
      <p:tags r:id="rId1"/>
    </p:custDataLst>
    <p:extLst>
      <p:ext uri="{BB962C8B-B14F-4D97-AF65-F5344CB8AC3E}">
        <p14:creationId xmlns:p14="http://schemas.microsoft.com/office/powerpoint/2010/main" val="640767296"/>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backgroun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5" y="222559"/>
            <a:ext cx="10980738" cy="697057"/>
          </a:xfrm>
        </p:spPr>
        <p:txBody>
          <a:bodyPr/>
          <a:lstStyle>
            <a:lvl1pPr>
              <a:defRPr>
                <a:solidFill>
                  <a:schemeClr val="bg1"/>
                </a:solidFill>
              </a:defRPr>
            </a:lvl1pPr>
          </a:lstStyle>
          <a:p>
            <a:r>
              <a:rPr lang="en-US"/>
              <a:t>H1 placeholder.</a:t>
            </a:r>
            <a:endParaRPr lang="en-GB"/>
          </a:p>
        </p:txBody>
      </p:sp>
      <p:sp>
        <p:nvSpPr>
          <p:cNvPr id="7" name="Slide Number Placeholder 2">
            <a:extLst>
              <a:ext uri="{FF2B5EF4-FFF2-40B4-BE49-F238E27FC236}">
                <a16:creationId xmlns:a16="http://schemas.microsoft.com/office/drawing/2014/main" id="{7AD32D4E-75EA-4FDE-8CF3-0113237697DC}"/>
              </a:ext>
            </a:extLst>
          </p:cNvPr>
          <p:cNvSpPr txBox="1">
            <a:spLocks/>
          </p:cNvSpPr>
          <p:nvPr userDrawn="1"/>
        </p:nvSpPr>
        <p:spPr>
          <a:xfrm>
            <a:off x="11494008" y="6476999"/>
            <a:ext cx="382601" cy="228600"/>
          </a:xfrm>
          <a:prstGeom prst="rect">
            <a:avLst/>
          </a:prstGeom>
        </p:spPr>
        <p:txBody>
          <a:bodyPr vert="horz" lIns="91440" tIns="0" rIns="91440" bIns="0" rtlCol="0" anchor="ctr" anchorCtr="0"/>
          <a:lstStyle>
            <a:defPPr>
              <a:defRPr lang="en-US"/>
            </a:defPPr>
            <a:lvl1pPr algn="r">
              <a:defRPr sz="1000">
                <a:solidFill>
                  <a:srgbClr val="E0044E"/>
                </a:solidFill>
                <a:latin typeface="Segoe UI" panose="020B0502040204020203" pitchFamily="34" charset="0"/>
                <a:cs typeface="Segoe UI" panose="020B0502040204020203" pitchFamily="34" charset="0"/>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lvl="0"/>
            <a:fld id="{E20330FD-FE2A-483E-B0C7-29AD7FB3CAEB}" type="slidenum">
              <a:rPr lang="en-GB" noProof="0" smtClean="0">
                <a:solidFill>
                  <a:schemeClr val="bg1"/>
                </a:solidFill>
              </a:rPr>
              <a:pPr lvl="0"/>
              <a:t>‹#›</a:t>
            </a:fld>
            <a:endParaRPr lang="en-GB" noProof="0">
              <a:solidFill>
                <a:schemeClr val="bg1"/>
              </a:solidFill>
            </a:endParaRPr>
          </a:p>
        </p:txBody>
      </p:sp>
      <p:pic>
        <p:nvPicPr>
          <p:cNvPr id="8" name="Graphic 7">
            <a:extLst>
              <a:ext uri="{FF2B5EF4-FFF2-40B4-BE49-F238E27FC236}">
                <a16:creationId xmlns:a16="http://schemas.microsoft.com/office/drawing/2014/main" id="{6BFC3AAB-4631-49CB-A500-4B8B44ADAB3B}"/>
              </a:ext>
            </a:extLst>
          </p:cNvPr>
          <p:cNvPicPr>
            <a:picLocks/>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07040" y="6556248"/>
            <a:ext cx="813816" cy="82296"/>
          </a:xfrm>
          <a:prstGeom prst="rect">
            <a:avLst/>
          </a:prstGeom>
        </p:spPr>
      </p:pic>
    </p:spTree>
    <p:custDataLst>
      <p:tags r:id="rId1"/>
    </p:custDataLst>
    <p:extLst>
      <p:ext uri="{BB962C8B-B14F-4D97-AF65-F5344CB8AC3E}">
        <p14:creationId xmlns:p14="http://schemas.microsoft.com/office/powerpoint/2010/main" val="1023544568"/>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ack Cover">
    <p:bg>
      <p:bgPr>
        <a:solidFill>
          <a:schemeClr val="accent1"/>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E8CB07D0-6B55-49A5-96A5-4704462E1D63}"/>
              </a:ext>
            </a:extLst>
          </p:cNvPr>
          <p:cNvSpPr>
            <a:spLocks noGrp="1"/>
          </p:cNvSpPr>
          <p:nvPr>
            <p:ph type="body" sz="quarter" idx="10" hasCustomPrompt="1"/>
          </p:nvPr>
        </p:nvSpPr>
        <p:spPr>
          <a:xfrm>
            <a:off x="1150649" y="5981699"/>
            <a:ext cx="9890702" cy="553027"/>
          </a:xfrm>
        </p:spPr>
        <p:txBody>
          <a:bodyPr>
            <a:normAutofit/>
          </a:bodyPr>
          <a:lstStyle>
            <a:lvl1pPr marL="0" indent="0" algn="ctr">
              <a:buFont typeface="Arial" panose="020B0604020202020204" pitchFamily="34" charset="0"/>
              <a:buChar char="​"/>
              <a:defRPr sz="1200">
                <a:solidFill>
                  <a:schemeClr val="bg1"/>
                </a:solidFill>
              </a:defRPr>
            </a:lvl1pPr>
          </a:lstStyle>
          <a:p>
            <a:pPr lvl="0"/>
            <a:r>
              <a:rPr lang="en-US" err="1"/>
              <a:t>Poremolorror</a:t>
            </a:r>
            <a:r>
              <a:rPr lang="en-US"/>
              <a:t> </a:t>
            </a:r>
            <a:r>
              <a:rPr lang="en-US" err="1"/>
              <a:t>sapis</a:t>
            </a:r>
            <a:r>
              <a:rPr lang="en-US"/>
              <a:t> as </a:t>
            </a:r>
            <a:r>
              <a:rPr lang="en-US" err="1"/>
              <a:t>erfercia</a:t>
            </a:r>
            <a:r>
              <a:rPr lang="en-US"/>
              <a:t> es vid </a:t>
            </a:r>
            <a:r>
              <a:rPr lang="en-US" err="1"/>
              <a:t>molut</a:t>
            </a:r>
            <a:r>
              <a:rPr lang="en-US"/>
              <a:t> </a:t>
            </a:r>
            <a:r>
              <a:rPr lang="en-US" err="1"/>
              <a:t>eos</a:t>
            </a:r>
            <a:r>
              <a:rPr lang="en-US"/>
              <a:t> </a:t>
            </a:r>
            <a:r>
              <a:rPr lang="en-US" err="1"/>
              <a:t>eum</a:t>
            </a:r>
            <a:r>
              <a:rPr lang="en-US"/>
              <a:t> </a:t>
            </a:r>
            <a:r>
              <a:rPr lang="en-US" err="1"/>
              <a:t>endaest</a:t>
            </a:r>
            <a:r>
              <a:rPr lang="en-US"/>
              <a:t>, </a:t>
            </a:r>
            <a:r>
              <a:rPr lang="en-US" err="1"/>
              <a:t>estio</a:t>
            </a:r>
            <a:r>
              <a:rPr lang="en-US"/>
              <a:t> </a:t>
            </a:r>
            <a:r>
              <a:rPr lang="en-US" err="1"/>
              <a:t>quibuscia</a:t>
            </a:r>
            <a:r>
              <a:rPr lang="en-US"/>
              <a:t> sim </a:t>
            </a:r>
            <a:r>
              <a:rPr lang="en-US" err="1"/>
              <a:t>voluptam</a:t>
            </a:r>
            <a:r>
              <a:rPr lang="en-US"/>
              <a:t>, am </a:t>
            </a:r>
            <a:r>
              <a:rPr lang="en-US" err="1"/>
              <a:t>libusciis</a:t>
            </a:r>
            <a:r>
              <a:rPr lang="en-US"/>
              <a:t> </a:t>
            </a:r>
            <a:r>
              <a:rPr lang="en-US" err="1"/>
              <a:t>aut</a:t>
            </a:r>
            <a:r>
              <a:rPr lang="en-US"/>
              <a:t> </a:t>
            </a:r>
            <a:r>
              <a:rPr lang="en-US" err="1"/>
              <a:t>dicipis</a:t>
            </a:r>
            <a:r>
              <a:rPr lang="en-US"/>
              <a:t> </a:t>
            </a:r>
            <a:r>
              <a:rPr lang="en-US" err="1"/>
              <a:t>eventet</a:t>
            </a:r>
            <a:r>
              <a:rPr lang="en-US"/>
              <a:t> qui </a:t>
            </a:r>
            <a:r>
              <a:rPr lang="en-US" err="1"/>
              <a:t>nimolup</a:t>
            </a:r>
            <a:r>
              <a:rPr lang="en-US"/>
              <a:t> </a:t>
            </a:r>
            <a:r>
              <a:rPr lang="en-US" err="1"/>
              <a:t>tatatia</a:t>
            </a:r>
            <a:r>
              <a:rPr lang="en-US"/>
              <a:t> ad </a:t>
            </a:r>
            <a:r>
              <a:rPr lang="en-US" err="1"/>
              <a:t>quiam</a:t>
            </a:r>
            <a:r>
              <a:rPr lang="en-US"/>
              <a:t> sin </a:t>
            </a:r>
            <a:r>
              <a:rPr lang="en-US" err="1"/>
              <a:t>eaqui</a:t>
            </a:r>
            <a:r>
              <a:rPr lang="en-US"/>
              <a:t> de </a:t>
            </a:r>
            <a:r>
              <a:rPr lang="en-US" err="1"/>
              <a:t>parum</a:t>
            </a:r>
            <a:r>
              <a:rPr lang="en-US"/>
              <a:t> rem </a:t>
            </a:r>
            <a:r>
              <a:rPr lang="en-US" err="1"/>
              <a:t>alibus</a:t>
            </a:r>
            <a:r>
              <a:rPr lang="en-US"/>
              <a:t>. Odis et </a:t>
            </a:r>
            <a:r>
              <a:rPr lang="en-US" err="1"/>
              <a:t>aboribusa</a:t>
            </a:r>
            <a:r>
              <a:rPr lang="en-US"/>
              <a:t> qui </a:t>
            </a:r>
            <a:r>
              <a:rPr lang="en-US" err="1"/>
              <a:t>dolo</a:t>
            </a:r>
            <a:r>
              <a:rPr lang="en-US"/>
              <a:t> </a:t>
            </a:r>
            <a:r>
              <a:rPr lang="en-US" err="1"/>
              <a:t>ium</a:t>
            </a:r>
            <a:r>
              <a:rPr lang="en-US"/>
              <a:t> quo que vel et </a:t>
            </a:r>
            <a:r>
              <a:rPr lang="en-US" err="1"/>
              <a:t>atem</a:t>
            </a:r>
            <a:r>
              <a:rPr lang="en-US"/>
              <a:t>.</a:t>
            </a:r>
          </a:p>
        </p:txBody>
      </p:sp>
      <p:pic>
        <p:nvPicPr>
          <p:cNvPr id="4" name="Graphic 3">
            <a:extLst>
              <a:ext uri="{FF2B5EF4-FFF2-40B4-BE49-F238E27FC236}">
                <a16:creationId xmlns:a16="http://schemas.microsoft.com/office/drawing/2014/main" id="{183357A8-0497-4C6A-BA80-2B4783387D1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28655" y="2406718"/>
            <a:ext cx="3934690" cy="400494"/>
          </a:xfrm>
          <a:prstGeom prst="rect">
            <a:avLst/>
          </a:prstGeom>
        </p:spPr>
      </p:pic>
    </p:spTree>
    <p:custDataLst>
      <p:tags r:id="rId1"/>
    </p:custDataLst>
    <p:extLst>
      <p:ext uri="{BB962C8B-B14F-4D97-AF65-F5344CB8AC3E}">
        <p14:creationId xmlns:p14="http://schemas.microsoft.com/office/powerpoint/2010/main" val="3584601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Cover Purple/Gradient">
    <p:bg>
      <p:bgPr>
        <a:solidFill>
          <a:schemeClr val="accent1"/>
        </a:solidFill>
        <a:effectLst/>
      </p:bgPr>
    </p:bg>
    <p:spTree>
      <p:nvGrpSpPr>
        <p:cNvPr id="1" name=""/>
        <p:cNvGrpSpPr/>
        <p:nvPr/>
      </p:nvGrpSpPr>
      <p:grpSpPr>
        <a:xfrm>
          <a:off x="0" y="0"/>
          <a:ext cx="0" cy="0"/>
          <a:chOff x="0" y="0"/>
          <a:chExt cx="0" cy="0"/>
        </a:xfrm>
      </p:grpSpPr>
      <p:pic>
        <p:nvPicPr>
          <p:cNvPr id="31" name="Picture 30" descr="Background pattern&#10;&#10;Description automatically generated">
            <a:extLst>
              <a:ext uri="{FF2B5EF4-FFF2-40B4-BE49-F238E27FC236}">
                <a16:creationId xmlns:a16="http://schemas.microsoft.com/office/drawing/2014/main" id="{E62B7ECA-4C4E-4864-8977-C917D0D382A2}"/>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a:xfrm>
            <a:off x="7923254" y="2012965"/>
            <a:ext cx="4268746" cy="4285146"/>
          </a:xfrm>
          <a:custGeom>
            <a:avLst/>
            <a:gdLst>
              <a:gd name="connsiteX0" fmla="*/ 2047529 w 4268746"/>
              <a:gd name="connsiteY0" fmla="*/ 3183018 h 4285146"/>
              <a:gd name="connsiteX1" fmla="*/ 3785884 w 4268746"/>
              <a:gd name="connsiteY1" fmla="*/ 3183018 h 4285146"/>
              <a:gd name="connsiteX2" fmla="*/ 4242833 w 4268746"/>
              <a:gd name="connsiteY2" fmla="*/ 3425978 h 4285146"/>
              <a:gd name="connsiteX3" fmla="*/ 4268746 w 4268746"/>
              <a:gd name="connsiteY3" fmla="*/ 3473719 h 4285146"/>
              <a:gd name="connsiteX4" fmla="*/ 4268746 w 4268746"/>
              <a:gd name="connsiteY4" fmla="*/ 3994445 h 4285146"/>
              <a:gd name="connsiteX5" fmla="*/ 4242833 w 4268746"/>
              <a:gd name="connsiteY5" fmla="*/ 4042186 h 4285146"/>
              <a:gd name="connsiteX6" fmla="*/ 3785884 w 4268746"/>
              <a:gd name="connsiteY6" fmla="*/ 4285146 h 4285146"/>
              <a:gd name="connsiteX7" fmla="*/ 2047529 w 4268746"/>
              <a:gd name="connsiteY7" fmla="*/ 4285146 h 4285146"/>
              <a:gd name="connsiteX8" fmla="*/ 1496467 w 4268746"/>
              <a:gd name="connsiteY8" fmla="*/ 3734018 h 4285146"/>
              <a:gd name="connsiteX9" fmla="*/ 1496467 w 4268746"/>
              <a:gd name="connsiteY9" fmla="*/ 3733955 h 4285146"/>
              <a:gd name="connsiteX10" fmla="*/ 2047529 w 4268746"/>
              <a:gd name="connsiteY10" fmla="*/ 3183018 h 4285146"/>
              <a:gd name="connsiteX11" fmla="*/ 551062 w 4268746"/>
              <a:gd name="connsiteY11" fmla="*/ 3182955 h 4285146"/>
              <a:gd name="connsiteX12" fmla="*/ 551317 w 4268746"/>
              <a:gd name="connsiteY12" fmla="*/ 3182955 h 4285146"/>
              <a:gd name="connsiteX13" fmla="*/ 1102379 w 4268746"/>
              <a:gd name="connsiteY13" fmla="*/ 3734018 h 4285146"/>
              <a:gd name="connsiteX14" fmla="*/ 551317 w 4268746"/>
              <a:gd name="connsiteY14" fmla="*/ 4285082 h 4285146"/>
              <a:gd name="connsiteX15" fmla="*/ 255 w 4268746"/>
              <a:gd name="connsiteY15" fmla="*/ 3734018 h 4285146"/>
              <a:gd name="connsiteX16" fmla="*/ 64 w 4268746"/>
              <a:gd name="connsiteY16" fmla="*/ 3734082 h 4285146"/>
              <a:gd name="connsiteX17" fmla="*/ 64 w 4268746"/>
              <a:gd name="connsiteY17" fmla="*/ 3733955 h 4285146"/>
              <a:gd name="connsiteX18" fmla="*/ 551062 w 4268746"/>
              <a:gd name="connsiteY18" fmla="*/ 3182955 h 4285146"/>
              <a:gd name="connsiteX19" fmla="*/ 3785884 w 4268746"/>
              <a:gd name="connsiteY19" fmla="*/ 1591573 h 4285146"/>
              <a:gd name="connsiteX20" fmla="*/ 4242833 w 4268746"/>
              <a:gd name="connsiteY20" fmla="*/ 1834532 h 4285146"/>
              <a:gd name="connsiteX21" fmla="*/ 4268746 w 4268746"/>
              <a:gd name="connsiteY21" fmla="*/ 1882274 h 4285146"/>
              <a:gd name="connsiteX22" fmla="*/ 4268746 w 4268746"/>
              <a:gd name="connsiteY22" fmla="*/ 2403001 h 4285146"/>
              <a:gd name="connsiteX23" fmla="*/ 4242846 w 4268746"/>
              <a:gd name="connsiteY23" fmla="*/ 2450721 h 4285146"/>
              <a:gd name="connsiteX24" fmla="*/ 3785948 w 4268746"/>
              <a:gd name="connsiteY24" fmla="*/ 2693700 h 4285146"/>
              <a:gd name="connsiteX25" fmla="*/ 3785884 w 4268746"/>
              <a:gd name="connsiteY25" fmla="*/ 2693700 h 4285146"/>
              <a:gd name="connsiteX26" fmla="*/ 3234823 w 4268746"/>
              <a:gd name="connsiteY26" fmla="*/ 2142637 h 4285146"/>
              <a:gd name="connsiteX27" fmla="*/ 3785884 w 4268746"/>
              <a:gd name="connsiteY27" fmla="*/ 1591573 h 4285146"/>
              <a:gd name="connsiteX28" fmla="*/ 551062 w 4268746"/>
              <a:gd name="connsiteY28" fmla="*/ 1591573 h 4285146"/>
              <a:gd name="connsiteX29" fmla="*/ 2289673 w 4268746"/>
              <a:gd name="connsiteY29" fmla="*/ 1591573 h 4285146"/>
              <a:gd name="connsiteX30" fmla="*/ 2840734 w 4268746"/>
              <a:gd name="connsiteY30" fmla="*/ 2142637 h 4285146"/>
              <a:gd name="connsiteX31" fmla="*/ 2289673 w 4268746"/>
              <a:gd name="connsiteY31" fmla="*/ 2693700 h 4285146"/>
              <a:gd name="connsiteX32" fmla="*/ 551062 w 4268746"/>
              <a:gd name="connsiteY32" fmla="*/ 2693700 h 4285146"/>
              <a:gd name="connsiteX33" fmla="*/ 64 w 4268746"/>
              <a:gd name="connsiteY33" fmla="*/ 2142700 h 4285146"/>
              <a:gd name="connsiteX34" fmla="*/ 1 w 4268746"/>
              <a:gd name="connsiteY34" fmla="*/ 2142573 h 4285146"/>
              <a:gd name="connsiteX35" fmla="*/ 1 w 4268746"/>
              <a:gd name="connsiteY35" fmla="*/ 2142509 h 4285146"/>
              <a:gd name="connsiteX36" fmla="*/ 551062 w 4268746"/>
              <a:gd name="connsiteY36" fmla="*/ 1591573 h 4285146"/>
              <a:gd name="connsiteX37" fmla="*/ 551126 w 4268746"/>
              <a:gd name="connsiteY37" fmla="*/ 64 h 4285146"/>
              <a:gd name="connsiteX38" fmla="*/ 1102124 w 4268746"/>
              <a:gd name="connsiteY38" fmla="*/ 551191 h 4285146"/>
              <a:gd name="connsiteX39" fmla="*/ 1102188 w 4268746"/>
              <a:gd name="connsiteY39" fmla="*/ 551064 h 4285146"/>
              <a:gd name="connsiteX40" fmla="*/ 551062 w 4268746"/>
              <a:gd name="connsiteY40" fmla="*/ 1102191 h 4285146"/>
              <a:gd name="connsiteX41" fmla="*/ 550999 w 4268746"/>
              <a:gd name="connsiteY41" fmla="*/ 1102191 h 4285146"/>
              <a:gd name="connsiteX42" fmla="*/ 1 w 4268746"/>
              <a:gd name="connsiteY42" fmla="*/ 551064 h 4285146"/>
              <a:gd name="connsiteX43" fmla="*/ 551126 w 4268746"/>
              <a:gd name="connsiteY43" fmla="*/ 64 h 4285146"/>
              <a:gd name="connsiteX44" fmla="*/ 2047529 w 4268746"/>
              <a:gd name="connsiteY44" fmla="*/ 0 h 4285146"/>
              <a:gd name="connsiteX45" fmla="*/ 3785694 w 4268746"/>
              <a:gd name="connsiteY45" fmla="*/ 0 h 4285146"/>
              <a:gd name="connsiteX46" fmla="*/ 4242642 w 4268746"/>
              <a:gd name="connsiteY46" fmla="*/ 242960 h 4285146"/>
              <a:gd name="connsiteX47" fmla="*/ 4268746 w 4268746"/>
              <a:gd name="connsiteY47" fmla="*/ 291053 h 4285146"/>
              <a:gd name="connsiteX48" fmla="*/ 4268746 w 4268746"/>
              <a:gd name="connsiteY48" fmla="*/ 811427 h 4285146"/>
              <a:gd name="connsiteX49" fmla="*/ 4242833 w 4268746"/>
              <a:gd name="connsiteY49" fmla="*/ 859168 h 4285146"/>
              <a:gd name="connsiteX50" fmla="*/ 3785884 w 4268746"/>
              <a:gd name="connsiteY50" fmla="*/ 1102127 h 4285146"/>
              <a:gd name="connsiteX51" fmla="*/ 2047529 w 4268746"/>
              <a:gd name="connsiteY51" fmla="*/ 1102127 h 4285146"/>
              <a:gd name="connsiteX52" fmla="*/ 1496467 w 4268746"/>
              <a:gd name="connsiteY52" fmla="*/ 551064 h 4285146"/>
              <a:gd name="connsiteX53" fmla="*/ 2047529 w 4268746"/>
              <a:gd name="connsiteY53" fmla="*/ 0 h 428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268746" h="4285146">
                <a:moveTo>
                  <a:pt x="2047529" y="3183018"/>
                </a:moveTo>
                <a:lnTo>
                  <a:pt x="3785884" y="3183018"/>
                </a:lnTo>
                <a:cubicBezTo>
                  <a:pt x="3976098" y="3183018"/>
                  <a:pt x="4143803" y="3279394"/>
                  <a:pt x="4242833" y="3425978"/>
                </a:cubicBezTo>
                <a:lnTo>
                  <a:pt x="4268746" y="3473719"/>
                </a:lnTo>
                <a:lnTo>
                  <a:pt x="4268746" y="3994445"/>
                </a:lnTo>
                <a:lnTo>
                  <a:pt x="4242833" y="4042186"/>
                </a:lnTo>
                <a:cubicBezTo>
                  <a:pt x="4143803" y="4188770"/>
                  <a:pt x="3976098" y="4285146"/>
                  <a:pt x="3785884" y="4285146"/>
                </a:cubicBezTo>
                <a:lnTo>
                  <a:pt x="2047529" y="4285146"/>
                </a:lnTo>
                <a:cubicBezTo>
                  <a:pt x="1743175" y="4285108"/>
                  <a:pt x="1496467" y="4038373"/>
                  <a:pt x="1496467" y="3734018"/>
                </a:cubicBezTo>
                <a:cubicBezTo>
                  <a:pt x="1496467" y="3733999"/>
                  <a:pt x="1496467" y="3733974"/>
                  <a:pt x="1496467" y="3733955"/>
                </a:cubicBezTo>
                <a:cubicBezTo>
                  <a:pt x="1496505" y="3429645"/>
                  <a:pt x="1743219" y="3182987"/>
                  <a:pt x="2047529" y="3183018"/>
                </a:cubicBezTo>
                <a:close/>
                <a:moveTo>
                  <a:pt x="551062" y="3182955"/>
                </a:moveTo>
                <a:cubicBezTo>
                  <a:pt x="551145" y="3182955"/>
                  <a:pt x="551234" y="3182955"/>
                  <a:pt x="551317" y="3182955"/>
                </a:cubicBezTo>
                <a:cubicBezTo>
                  <a:pt x="855658" y="3182955"/>
                  <a:pt x="1102379" y="3429676"/>
                  <a:pt x="1102379" y="3734018"/>
                </a:cubicBezTo>
                <a:cubicBezTo>
                  <a:pt x="1102379" y="4038361"/>
                  <a:pt x="855658" y="4285082"/>
                  <a:pt x="551317" y="4285082"/>
                </a:cubicBezTo>
                <a:cubicBezTo>
                  <a:pt x="246976" y="4285082"/>
                  <a:pt x="255" y="4038361"/>
                  <a:pt x="255" y="3734018"/>
                </a:cubicBezTo>
                <a:lnTo>
                  <a:pt x="64" y="3734082"/>
                </a:lnTo>
                <a:cubicBezTo>
                  <a:pt x="64" y="3734037"/>
                  <a:pt x="64" y="3733999"/>
                  <a:pt x="64" y="3733955"/>
                </a:cubicBezTo>
                <a:cubicBezTo>
                  <a:pt x="64" y="3429645"/>
                  <a:pt x="246753" y="3182955"/>
                  <a:pt x="551062" y="3182955"/>
                </a:cubicBezTo>
                <a:close/>
                <a:moveTo>
                  <a:pt x="3785884" y="1591573"/>
                </a:moveTo>
                <a:cubicBezTo>
                  <a:pt x="3976098" y="1591573"/>
                  <a:pt x="4143803" y="1687948"/>
                  <a:pt x="4242833" y="1834532"/>
                </a:cubicBezTo>
                <a:lnTo>
                  <a:pt x="4268746" y="1882274"/>
                </a:lnTo>
                <a:lnTo>
                  <a:pt x="4268746" y="2403001"/>
                </a:lnTo>
                <a:lnTo>
                  <a:pt x="4242846" y="2450721"/>
                </a:lnTo>
                <a:cubicBezTo>
                  <a:pt x="4143830" y="2597300"/>
                  <a:pt x="3976145" y="2693680"/>
                  <a:pt x="3785948" y="2693700"/>
                </a:cubicBezTo>
                <a:cubicBezTo>
                  <a:pt x="3785929" y="2693700"/>
                  <a:pt x="3785903" y="2693700"/>
                  <a:pt x="3785884" y="2693700"/>
                </a:cubicBezTo>
                <a:cubicBezTo>
                  <a:pt x="3481543" y="2693700"/>
                  <a:pt x="3234823" y="2446979"/>
                  <a:pt x="3234823" y="2142637"/>
                </a:cubicBezTo>
                <a:cubicBezTo>
                  <a:pt x="3234823" y="1838294"/>
                  <a:pt x="3481543" y="1591573"/>
                  <a:pt x="3785884" y="1591573"/>
                </a:cubicBezTo>
                <a:close/>
                <a:moveTo>
                  <a:pt x="551062" y="1591573"/>
                </a:moveTo>
                <a:lnTo>
                  <a:pt x="2289673" y="1591573"/>
                </a:lnTo>
                <a:cubicBezTo>
                  <a:pt x="2594014" y="1591573"/>
                  <a:pt x="2840734" y="1838294"/>
                  <a:pt x="2840734" y="2142637"/>
                </a:cubicBezTo>
                <a:cubicBezTo>
                  <a:pt x="2840734" y="2446979"/>
                  <a:pt x="2594014" y="2693700"/>
                  <a:pt x="2289673" y="2693700"/>
                </a:cubicBezTo>
                <a:lnTo>
                  <a:pt x="551062" y="2693700"/>
                </a:lnTo>
                <a:cubicBezTo>
                  <a:pt x="246785" y="2693630"/>
                  <a:pt x="134" y="2446979"/>
                  <a:pt x="64" y="2142700"/>
                </a:cubicBezTo>
                <a:lnTo>
                  <a:pt x="1" y="2142573"/>
                </a:lnTo>
                <a:cubicBezTo>
                  <a:pt x="1" y="2142554"/>
                  <a:pt x="1" y="2142528"/>
                  <a:pt x="1" y="2142509"/>
                </a:cubicBezTo>
                <a:cubicBezTo>
                  <a:pt x="36" y="1838199"/>
                  <a:pt x="246753" y="1591535"/>
                  <a:pt x="551062" y="1591573"/>
                </a:cubicBezTo>
                <a:close/>
                <a:moveTo>
                  <a:pt x="551126" y="64"/>
                </a:moveTo>
                <a:cubicBezTo>
                  <a:pt x="855467" y="102"/>
                  <a:pt x="1102162" y="246849"/>
                  <a:pt x="1102124" y="551191"/>
                </a:cubicBezTo>
                <a:lnTo>
                  <a:pt x="1102188" y="551064"/>
                </a:lnTo>
                <a:cubicBezTo>
                  <a:pt x="1102188" y="855444"/>
                  <a:pt x="855442" y="1102191"/>
                  <a:pt x="551062" y="1102191"/>
                </a:cubicBezTo>
                <a:cubicBezTo>
                  <a:pt x="551043" y="1102191"/>
                  <a:pt x="551018" y="1102191"/>
                  <a:pt x="550999" y="1102191"/>
                </a:cubicBezTo>
                <a:cubicBezTo>
                  <a:pt x="246657" y="1102153"/>
                  <a:pt x="-34" y="855406"/>
                  <a:pt x="1" y="551064"/>
                </a:cubicBezTo>
                <a:cubicBezTo>
                  <a:pt x="36" y="246721"/>
                  <a:pt x="246785" y="25"/>
                  <a:pt x="551126" y="64"/>
                </a:cubicBezTo>
                <a:close/>
                <a:moveTo>
                  <a:pt x="2047529" y="0"/>
                </a:moveTo>
                <a:lnTo>
                  <a:pt x="3785694" y="0"/>
                </a:lnTo>
                <a:cubicBezTo>
                  <a:pt x="3975907" y="0"/>
                  <a:pt x="4143612" y="96376"/>
                  <a:pt x="4242642" y="242960"/>
                </a:cubicBezTo>
                <a:lnTo>
                  <a:pt x="4268746" y="291053"/>
                </a:lnTo>
                <a:lnTo>
                  <a:pt x="4268746" y="811427"/>
                </a:lnTo>
                <a:lnTo>
                  <a:pt x="4242833" y="859168"/>
                </a:lnTo>
                <a:cubicBezTo>
                  <a:pt x="4143803" y="1005752"/>
                  <a:pt x="3976098" y="1102127"/>
                  <a:pt x="3785884" y="1102127"/>
                </a:cubicBezTo>
                <a:lnTo>
                  <a:pt x="2047529" y="1102127"/>
                </a:lnTo>
                <a:cubicBezTo>
                  <a:pt x="1743188" y="1102127"/>
                  <a:pt x="1496467" y="855406"/>
                  <a:pt x="1496467" y="551064"/>
                </a:cubicBezTo>
                <a:cubicBezTo>
                  <a:pt x="1496467" y="246721"/>
                  <a:pt x="1743188" y="0"/>
                  <a:pt x="2047529" y="0"/>
                </a:cubicBezTo>
                <a:close/>
              </a:path>
            </a:pathLst>
          </a:custGeom>
        </p:spPr>
      </p:pic>
      <p:sp>
        <p:nvSpPr>
          <p:cNvPr id="3" name="Subtitle 2">
            <a:extLst>
              <a:ext uri="{FF2B5EF4-FFF2-40B4-BE49-F238E27FC236}">
                <a16:creationId xmlns:a16="http://schemas.microsoft.com/office/drawing/2014/main" id="{90374356-2DEE-40D7-A5C3-76BE971FC02F}"/>
              </a:ext>
            </a:extLst>
          </p:cNvPr>
          <p:cNvSpPr>
            <a:spLocks noGrp="1"/>
          </p:cNvSpPr>
          <p:nvPr>
            <p:ph type="subTitle" idx="1" hasCustomPrompt="1"/>
          </p:nvPr>
        </p:nvSpPr>
        <p:spPr>
          <a:xfrm>
            <a:off x="603272" y="4405744"/>
            <a:ext cx="5140303" cy="1258455"/>
          </a:xfrm>
        </p:spPr>
        <p:txBody>
          <a:bodyPr lIns="0" rIns="0">
            <a:normAutofit/>
          </a:bodyPr>
          <a:lstStyle>
            <a:lvl1pPr marL="0" indent="0" algn="l">
              <a:buNone/>
              <a:defRPr sz="1400" b="0">
                <a:solidFill>
                  <a:schemeClr val="bg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endParaRPr lang="en-GB"/>
          </a:p>
        </p:txBody>
      </p:sp>
      <p:grpSp>
        <p:nvGrpSpPr>
          <p:cNvPr id="22" name="Group 21">
            <a:extLst>
              <a:ext uri="{FF2B5EF4-FFF2-40B4-BE49-F238E27FC236}">
                <a16:creationId xmlns:a16="http://schemas.microsoft.com/office/drawing/2014/main" id="{06D3E6A9-608F-4FEF-9318-50780452D43F}"/>
              </a:ext>
            </a:extLst>
          </p:cNvPr>
          <p:cNvGrpSpPr/>
          <p:nvPr userDrawn="1"/>
        </p:nvGrpSpPr>
        <p:grpSpPr>
          <a:xfrm>
            <a:off x="9848850" y="557074"/>
            <a:ext cx="1904999" cy="195571"/>
            <a:chOff x="9848850" y="557074"/>
            <a:chExt cx="1904999" cy="195571"/>
          </a:xfrm>
          <a:solidFill>
            <a:schemeClr val="bg1"/>
          </a:solidFill>
        </p:grpSpPr>
        <p:sp>
          <p:nvSpPr>
            <p:cNvPr id="4" name="Freeform: Shape 3">
              <a:extLst>
                <a:ext uri="{FF2B5EF4-FFF2-40B4-BE49-F238E27FC236}">
                  <a16:creationId xmlns:a16="http://schemas.microsoft.com/office/drawing/2014/main" id="{982B1A2E-3EC0-4B78-AB9A-10329041127E}"/>
                </a:ext>
              </a:extLst>
            </p:cNvPr>
            <p:cNvSpPr/>
            <p:nvPr/>
          </p:nvSpPr>
          <p:spPr>
            <a:xfrm>
              <a:off x="9848850" y="560843"/>
              <a:ext cx="122454" cy="188307"/>
            </a:xfrm>
            <a:custGeom>
              <a:avLst/>
              <a:gdLst>
                <a:gd name="connsiteX0" fmla="*/ 0 w 122454"/>
                <a:gd name="connsiteY0" fmla="*/ 0 h 188307"/>
                <a:gd name="connsiteX1" fmla="*/ 0 w 122454"/>
                <a:gd name="connsiteY1" fmla="*/ 188307 h 188307"/>
                <a:gd name="connsiteX2" fmla="*/ 122455 w 122454"/>
                <a:gd name="connsiteY2" fmla="*/ 188307 h 188307"/>
                <a:gd name="connsiteX3" fmla="*/ 122455 w 122454"/>
                <a:gd name="connsiteY3" fmla="*/ 157813 h 188307"/>
                <a:gd name="connsiteX4" fmla="*/ 33235 w 122454"/>
                <a:gd name="connsiteY4" fmla="*/ 157813 h 188307"/>
                <a:gd name="connsiteX5" fmla="*/ 33235 w 122454"/>
                <a:gd name="connsiteY5" fmla="*/ 112792 h 188307"/>
                <a:gd name="connsiteX6" fmla="*/ 114163 w 122454"/>
                <a:gd name="connsiteY6" fmla="*/ 112792 h 188307"/>
                <a:gd name="connsiteX7" fmla="*/ 114163 w 122454"/>
                <a:gd name="connsiteY7" fmla="*/ 83327 h 188307"/>
                <a:gd name="connsiteX8" fmla="*/ 33235 w 122454"/>
                <a:gd name="connsiteY8" fmla="*/ 83327 h 188307"/>
                <a:gd name="connsiteX9" fmla="*/ 33235 w 122454"/>
                <a:gd name="connsiteY9" fmla="*/ 30562 h 188307"/>
                <a:gd name="connsiteX10" fmla="*/ 122455 w 122454"/>
                <a:gd name="connsiteY10" fmla="*/ 30562 h 188307"/>
                <a:gd name="connsiteX11" fmla="*/ 122455 w 122454"/>
                <a:gd name="connsiteY11" fmla="*/ 0 h 188307"/>
                <a:gd name="connsiteX12" fmla="*/ 0 w 122454"/>
                <a:gd name="connsiteY12" fmla="*/ 0 h 18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07">
                  <a:moveTo>
                    <a:pt x="0" y="0"/>
                  </a:moveTo>
                  <a:lnTo>
                    <a:pt x="0" y="188307"/>
                  </a:lnTo>
                  <a:lnTo>
                    <a:pt x="122455" y="188307"/>
                  </a:lnTo>
                  <a:lnTo>
                    <a:pt x="122455" y="157813"/>
                  </a:lnTo>
                  <a:lnTo>
                    <a:pt x="33235" y="157813"/>
                  </a:lnTo>
                  <a:lnTo>
                    <a:pt x="33235" y="112792"/>
                  </a:lnTo>
                  <a:lnTo>
                    <a:pt x="114163" y="112792"/>
                  </a:lnTo>
                  <a:lnTo>
                    <a:pt x="114163" y="83327"/>
                  </a:lnTo>
                  <a:lnTo>
                    <a:pt x="33235" y="83327"/>
                  </a:lnTo>
                  <a:lnTo>
                    <a:pt x="33235" y="30562"/>
                  </a:lnTo>
                  <a:lnTo>
                    <a:pt x="122455" y="30562"/>
                  </a:lnTo>
                  <a:lnTo>
                    <a:pt x="122455" y="0"/>
                  </a:lnTo>
                  <a:lnTo>
                    <a:pt x="0" y="0"/>
                  </a:lnTo>
                  <a:close/>
                </a:path>
              </a:pathLst>
            </a:custGeom>
            <a:grpFill/>
            <a:ln w="6853"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CDEEB691-8710-4322-806E-E69F81A5E418}"/>
                </a:ext>
              </a:extLst>
            </p:cNvPr>
            <p:cNvSpPr/>
            <p:nvPr/>
          </p:nvSpPr>
          <p:spPr>
            <a:xfrm>
              <a:off x="9998097" y="560843"/>
              <a:ext cx="185908" cy="190705"/>
            </a:xfrm>
            <a:custGeom>
              <a:avLst/>
              <a:gdLst>
                <a:gd name="connsiteX0" fmla="*/ 151098 w 185908"/>
                <a:gd name="connsiteY0" fmla="*/ 0 h 190705"/>
                <a:gd name="connsiteX1" fmla="*/ 93263 w 185908"/>
                <a:gd name="connsiteY1" fmla="*/ 128622 h 190705"/>
                <a:gd name="connsiteX2" fmla="*/ 35633 w 185908"/>
                <a:gd name="connsiteY2" fmla="*/ 0 h 190705"/>
                <a:gd name="connsiteX3" fmla="*/ 0 w 185908"/>
                <a:gd name="connsiteY3" fmla="*/ 0 h 190705"/>
                <a:gd name="connsiteX4" fmla="*/ 87301 w 185908"/>
                <a:gd name="connsiteY4" fmla="*/ 190706 h 190705"/>
                <a:gd name="connsiteX5" fmla="*/ 98608 w 185908"/>
                <a:gd name="connsiteY5" fmla="*/ 190706 h 190705"/>
                <a:gd name="connsiteX6" fmla="*/ 185909 w 185908"/>
                <a:gd name="connsiteY6" fmla="*/ 0 h 190705"/>
                <a:gd name="connsiteX7" fmla="*/ 151098 w 185908"/>
                <a:gd name="connsiteY7" fmla="*/ 0 h 190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908" h="190705">
                  <a:moveTo>
                    <a:pt x="151098" y="0"/>
                  </a:moveTo>
                  <a:lnTo>
                    <a:pt x="93263" y="128622"/>
                  </a:lnTo>
                  <a:lnTo>
                    <a:pt x="35633" y="0"/>
                  </a:lnTo>
                  <a:lnTo>
                    <a:pt x="0" y="0"/>
                  </a:lnTo>
                  <a:lnTo>
                    <a:pt x="87301" y="190706"/>
                  </a:lnTo>
                  <a:lnTo>
                    <a:pt x="98608" y="190706"/>
                  </a:lnTo>
                  <a:lnTo>
                    <a:pt x="185909" y="0"/>
                  </a:lnTo>
                  <a:lnTo>
                    <a:pt x="151098" y="0"/>
                  </a:lnTo>
                  <a:close/>
                </a:path>
              </a:pathLst>
            </a:custGeom>
            <a:grpFill/>
            <a:ln w="6853"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290779BC-95C9-40DF-AA48-4CE05FA0B9EE}"/>
                </a:ext>
              </a:extLst>
            </p:cNvPr>
            <p:cNvSpPr/>
            <p:nvPr/>
          </p:nvSpPr>
          <p:spPr>
            <a:xfrm>
              <a:off x="10165231" y="559199"/>
              <a:ext cx="184606" cy="190020"/>
            </a:xfrm>
            <a:custGeom>
              <a:avLst/>
              <a:gdLst>
                <a:gd name="connsiteX0" fmla="*/ 90701 w 184606"/>
                <a:gd name="connsiteY0" fmla="*/ 60490 h 190020"/>
                <a:gd name="connsiteX1" fmla="*/ 119345 w 184606"/>
                <a:gd name="connsiteY1" fmla="*/ 125314 h 190020"/>
                <a:gd name="connsiteX2" fmla="*/ 61989 w 184606"/>
                <a:gd name="connsiteY2" fmla="*/ 125314 h 190020"/>
                <a:gd name="connsiteX3" fmla="*/ 87481 w 184606"/>
                <a:gd name="connsiteY3" fmla="*/ -635 h 190020"/>
                <a:gd name="connsiteX4" fmla="*/ -985 w 184606"/>
                <a:gd name="connsiteY4" fmla="*/ 189385 h 190020"/>
                <a:gd name="connsiteX5" fmla="*/ 33826 w 184606"/>
                <a:gd name="connsiteY5" fmla="*/ 189385 h 190020"/>
                <a:gd name="connsiteX6" fmla="*/ 50203 w 184606"/>
                <a:gd name="connsiteY6" fmla="*/ 151833 h 190020"/>
                <a:gd name="connsiteX7" fmla="*/ 131131 w 184606"/>
                <a:gd name="connsiteY7" fmla="*/ 151833 h 190020"/>
                <a:gd name="connsiteX8" fmla="*/ 147714 w 184606"/>
                <a:gd name="connsiteY8" fmla="*/ 189385 h 190020"/>
                <a:gd name="connsiteX9" fmla="*/ 183622 w 184606"/>
                <a:gd name="connsiteY9" fmla="*/ 189385 h 190020"/>
                <a:gd name="connsiteX10" fmla="*/ 95155 w 184606"/>
                <a:gd name="connsiteY10" fmla="*/ -635 h 19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4606" h="190020">
                  <a:moveTo>
                    <a:pt x="90701" y="60490"/>
                  </a:moveTo>
                  <a:lnTo>
                    <a:pt x="119345" y="125314"/>
                  </a:lnTo>
                  <a:lnTo>
                    <a:pt x="61989" y="125314"/>
                  </a:lnTo>
                  <a:close/>
                  <a:moveTo>
                    <a:pt x="87481" y="-635"/>
                  </a:moveTo>
                  <a:lnTo>
                    <a:pt x="-985" y="189385"/>
                  </a:lnTo>
                  <a:lnTo>
                    <a:pt x="33826" y="189385"/>
                  </a:lnTo>
                  <a:lnTo>
                    <a:pt x="50203" y="151833"/>
                  </a:lnTo>
                  <a:lnTo>
                    <a:pt x="131131" y="151833"/>
                  </a:lnTo>
                  <a:lnTo>
                    <a:pt x="147714" y="189385"/>
                  </a:lnTo>
                  <a:lnTo>
                    <a:pt x="183622" y="189385"/>
                  </a:lnTo>
                  <a:lnTo>
                    <a:pt x="95155" y="-635"/>
                  </a:lnTo>
                  <a:close/>
                </a:path>
              </a:pathLst>
            </a:custGeom>
            <a:grpFill/>
            <a:ln w="6853"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BA4860F-3F0D-4929-8566-E5959309DE7F}"/>
                </a:ext>
              </a:extLst>
            </p:cNvPr>
            <p:cNvSpPr/>
            <p:nvPr/>
          </p:nvSpPr>
          <p:spPr>
            <a:xfrm>
              <a:off x="10381222" y="560843"/>
              <a:ext cx="122385" cy="188307"/>
            </a:xfrm>
            <a:custGeom>
              <a:avLst/>
              <a:gdLst>
                <a:gd name="connsiteX0" fmla="*/ 0 w 122385"/>
                <a:gd name="connsiteY0" fmla="*/ 0 h 188307"/>
                <a:gd name="connsiteX1" fmla="*/ 0 w 122385"/>
                <a:gd name="connsiteY1" fmla="*/ 188307 h 188307"/>
                <a:gd name="connsiteX2" fmla="*/ 122386 w 122385"/>
                <a:gd name="connsiteY2" fmla="*/ 188307 h 188307"/>
                <a:gd name="connsiteX3" fmla="*/ 122386 w 122385"/>
                <a:gd name="connsiteY3" fmla="*/ 157813 h 188307"/>
                <a:gd name="connsiteX4" fmla="*/ 33166 w 122385"/>
                <a:gd name="connsiteY4" fmla="*/ 157813 h 188307"/>
                <a:gd name="connsiteX5" fmla="*/ 33166 w 122385"/>
                <a:gd name="connsiteY5" fmla="*/ 0 h 188307"/>
                <a:gd name="connsiteX6" fmla="*/ 0 w 122385"/>
                <a:gd name="connsiteY6" fmla="*/ 0 h 18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85" h="188307">
                  <a:moveTo>
                    <a:pt x="0" y="0"/>
                  </a:moveTo>
                  <a:lnTo>
                    <a:pt x="0" y="188307"/>
                  </a:lnTo>
                  <a:lnTo>
                    <a:pt x="122386" y="188307"/>
                  </a:lnTo>
                  <a:lnTo>
                    <a:pt x="122386" y="157813"/>
                  </a:lnTo>
                  <a:lnTo>
                    <a:pt x="33166" y="157813"/>
                  </a:lnTo>
                  <a:lnTo>
                    <a:pt x="33166" y="0"/>
                  </a:lnTo>
                  <a:lnTo>
                    <a:pt x="0" y="0"/>
                  </a:lnTo>
                  <a:close/>
                </a:path>
              </a:pathLst>
            </a:custGeom>
            <a:grpFill/>
            <a:ln w="6853"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B12E63F6-4AED-4FCC-B839-0821E5C1D558}"/>
                </a:ext>
              </a:extLst>
            </p:cNvPr>
            <p:cNvSpPr/>
            <p:nvPr/>
          </p:nvSpPr>
          <p:spPr>
            <a:xfrm>
              <a:off x="10530744" y="560844"/>
              <a:ext cx="157059" cy="191801"/>
            </a:xfrm>
            <a:custGeom>
              <a:avLst/>
              <a:gdLst>
                <a:gd name="connsiteX0" fmla="*/ -985 w 157059"/>
                <a:gd name="connsiteY0" fmla="*/ -635 h 191801"/>
                <a:gd name="connsiteX1" fmla="*/ 32250 w 157059"/>
                <a:gd name="connsiteY1" fmla="*/ -635 h 191801"/>
                <a:gd name="connsiteX2" fmla="*/ 32250 w 157059"/>
                <a:gd name="connsiteY2" fmla="*/ 109759 h 191801"/>
                <a:gd name="connsiteX3" fmla="*/ 76997 w 157059"/>
                <a:gd name="connsiteY3" fmla="*/ 160673 h 191801"/>
                <a:gd name="connsiteX4" fmla="*/ 122840 w 157059"/>
                <a:gd name="connsiteY4" fmla="*/ 109484 h 191801"/>
                <a:gd name="connsiteX5" fmla="*/ 122840 w 157059"/>
                <a:gd name="connsiteY5" fmla="*/ -635 h 191801"/>
                <a:gd name="connsiteX6" fmla="*/ 156074 w 157059"/>
                <a:gd name="connsiteY6" fmla="*/ -635 h 191801"/>
                <a:gd name="connsiteX7" fmla="*/ 156074 w 157059"/>
                <a:gd name="connsiteY7" fmla="*/ 109759 h 191801"/>
                <a:gd name="connsiteX8" fmla="*/ 76997 w 157059"/>
                <a:gd name="connsiteY8" fmla="*/ 191167 h 191801"/>
                <a:gd name="connsiteX9" fmla="*/ -985 w 157059"/>
                <a:gd name="connsiteY9" fmla="*/ 109759 h 19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059" h="191801">
                  <a:moveTo>
                    <a:pt x="-985" y="-635"/>
                  </a:moveTo>
                  <a:lnTo>
                    <a:pt x="32250" y="-635"/>
                  </a:lnTo>
                  <a:lnTo>
                    <a:pt x="32250" y="109759"/>
                  </a:lnTo>
                  <a:cubicBezTo>
                    <a:pt x="32250" y="145666"/>
                    <a:pt x="48627" y="160673"/>
                    <a:pt x="76997" y="160673"/>
                  </a:cubicBezTo>
                  <a:cubicBezTo>
                    <a:pt x="105366" y="160673"/>
                    <a:pt x="122840" y="145666"/>
                    <a:pt x="122840" y="109484"/>
                  </a:cubicBezTo>
                  <a:lnTo>
                    <a:pt x="122840" y="-635"/>
                  </a:lnTo>
                  <a:lnTo>
                    <a:pt x="156074" y="-635"/>
                  </a:lnTo>
                  <a:lnTo>
                    <a:pt x="156074" y="109759"/>
                  </a:lnTo>
                  <a:cubicBezTo>
                    <a:pt x="156074" y="166018"/>
                    <a:pt x="124142" y="191167"/>
                    <a:pt x="76997" y="191167"/>
                  </a:cubicBezTo>
                  <a:cubicBezTo>
                    <a:pt x="29851" y="191167"/>
                    <a:pt x="-985" y="166018"/>
                    <a:pt x="-985" y="109759"/>
                  </a:cubicBezTo>
                  <a:close/>
                </a:path>
              </a:pathLst>
            </a:custGeom>
            <a:grpFill/>
            <a:ln w="6853"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89E35D2B-5F84-4B67-AC50-4C6225985947}"/>
                </a:ext>
              </a:extLst>
            </p:cNvPr>
            <p:cNvSpPr/>
            <p:nvPr/>
          </p:nvSpPr>
          <p:spPr>
            <a:xfrm>
              <a:off x="10738717" y="560432"/>
              <a:ext cx="122454" cy="188375"/>
            </a:xfrm>
            <a:custGeom>
              <a:avLst/>
              <a:gdLst>
                <a:gd name="connsiteX0" fmla="*/ 0 w 122454"/>
                <a:gd name="connsiteY0" fmla="*/ 0 h 188375"/>
                <a:gd name="connsiteX1" fmla="*/ 0 w 122454"/>
                <a:gd name="connsiteY1" fmla="*/ 188376 h 188375"/>
                <a:gd name="connsiteX2" fmla="*/ 122454 w 122454"/>
                <a:gd name="connsiteY2" fmla="*/ 188376 h 188375"/>
                <a:gd name="connsiteX3" fmla="*/ 122454 w 122454"/>
                <a:gd name="connsiteY3" fmla="*/ 157813 h 188375"/>
                <a:gd name="connsiteX4" fmla="*/ 33235 w 122454"/>
                <a:gd name="connsiteY4" fmla="*/ 157813 h 188375"/>
                <a:gd name="connsiteX5" fmla="*/ 33235 w 122454"/>
                <a:gd name="connsiteY5" fmla="*/ 112792 h 188375"/>
                <a:gd name="connsiteX6" fmla="*/ 114094 w 122454"/>
                <a:gd name="connsiteY6" fmla="*/ 112792 h 188375"/>
                <a:gd name="connsiteX7" fmla="*/ 114094 w 122454"/>
                <a:gd name="connsiteY7" fmla="*/ 83327 h 188375"/>
                <a:gd name="connsiteX8" fmla="*/ 33235 w 122454"/>
                <a:gd name="connsiteY8" fmla="*/ 83327 h 188375"/>
                <a:gd name="connsiteX9" fmla="*/ 33235 w 122454"/>
                <a:gd name="connsiteY9" fmla="*/ 30562 h 188375"/>
                <a:gd name="connsiteX10" fmla="*/ 122454 w 122454"/>
                <a:gd name="connsiteY10" fmla="*/ 30562 h 188375"/>
                <a:gd name="connsiteX11" fmla="*/ 122454 w 122454"/>
                <a:gd name="connsiteY11" fmla="*/ 0 h 188375"/>
                <a:gd name="connsiteX12" fmla="*/ 0 w 122454"/>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75">
                  <a:moveTo>
                    <a:pt x="0" y="0"/>
                  </a:moveTo>
                  <a:lnTo>
                    <a:pt x="0" y="188376"/>
                  </a:lnTo>
                  <a:lnTo>
                    <a:pt x="122454" y="188376"/>
                  </a:lnTo>
                  <a:lnTo>
                    <a:pt x="122454" y="157813"/>
                  </a:lnTo>
                  <a:lnTo>
                    <a:pt x="33235" y="157813"/>
                  </a:lnTo>
                  <a:lnTo>
                    <a:pt x="33235" y="112792"/>
                  </a:lnTo>
                  <a:lnTo>
                    <a:pt x="114094" y="112792"/>
                  </a:lnTo>
                  <a:lnTo>
                    <a:pt x="114094" y="83327"/>
                  </a:lnTo>
                  <a:lnTo>
                    <a:pt x="33235" y="83327"/>
                  </a:lnTo>
                  <a:lnTo>
                    <a:pt x="33235" y="30562"/>
                  </a:lnTo>
                  <a:lnTo>
                    <a:pt x="122454" y="30562"/>
                  </a:lnTo>
                  <a:lnTo>
                    <a:pt x="122454" y="0"/>
                  </a:lnTo>
                  <a:lnTo>
                    <a:pt x="0" y="0"/>
                  </a:lnTo>
                  <a:close/>
                </a:path>
              </a:pathLst>
            </a:custGeom>
            <a:grpFill/>
            <a:ln w="6853"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0EF39E0A-23A7-4A8E-BDFE-97F0DF77FD04}"/>
                </a:ext>
              </a:extLst>
            </p:cNvPr>
            <p:cNvSpPr/>
            <p:nvPr/>
          </p:nvSpPr>
          <p:spPr>
            <a:xfrm>
              <a:off x="10903178" y="557074"/>
              <a:ext cx="128896" cy="194954"/>
            </a:xfrm>
            <a:custGeom>
              <a:avLst/>
              <a:gdLst>
                <a:gd name="connsiteX0" fmla="*/ 60688 w 128896"/>
                <a:gd name="connsiteY0" fmla="*/ 194319 h 194954"/>
                <a:gd name="connsiteX1" fmla="*/ -985 w 128896"/>
                <a:gd name="connsiteY1" fmla="*/ 176366 h 194954"/>
                <a:gd name="connsiteX2" fmla="*/ 10528 w 128896"/>
                <a:gd name="connsiteY2" fmla="*/ 146352 h 194954"/>
                <a:gd name="connsiteX3" fmla="*/ 61716 w 128896"/>
                <a:gd name="connsiteY3" fmla="*/ 163209 h 194954"/>
                <a:gd name="connsiteX4" fmla="*/ 94060 w 128896"/>
                <a:gd name="connsiteY4" fmla="*/ 140185 h 194954"/>
                <a:gd name="connsiteX5" fmla="*/ 52944 w 128896"/>
                <a:gd name="connsiteY5" fmla="*/ 107498 h 194954"/>
                <a:gd name="connsiteX6" fmla="*/ 3607 w 128896"/>
                <a:gd name="connsiteY6" fmla="*/ 54185 h 194954"/>
                <a:gd name="connsiteX7" fmla="*/ 66855 w 128896"/>
                <a:gd name="connsiteY7" fmla="*/ -635 h 194954"/>
                <a:gd name="connsiteX8" fmla="*/ 118797 w 128896"/>
                <a:gd name="connsiteY8" fmla="*/ 12248 h 194954"/>
                <a:gd name="connsiteX9" fmla="*/ 108108 w 128896"/>
                <a:gd name="connsiteY9" fmla="*/ 41713 h 194954"/>
                <a:gd name="connsiteX10" fmla="*/ 66033 w 128896"/>
                <a:gd name="connsiteY10" fmla="*/ 29105 h 194954"/>
                <a:gd name="connsiteX11" fmla="*/ 37116 w 128896"/>
                <a:gd name="connsiteY11" fmla="*/ 53226 h 194954"/>
                <a:gd name="connsiteX12" fmla="*/ 73776 w 128896"/>
                <a:gd name="connsiteY12" fmla="*/ 82417 h 194954"/>
                <a:gd name="connsiteX13" fmla="*/ 127911 w 128896"/>
                <a:gd name="connsiteY13" fmla="*/ 140047 h 194954"/>
                <a:gd name="connsiteX14" fmla="*/ 60413 w 128896"/>
                <a:gd name="connsiteY14" fmla="*/ 194182 h 194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8896" h="194954">
                  <a:moveTo>
                    <a:pt x="60688" y="194319"/>
                  </a:moveTo>
                  <a:cubicBezTo>
                    <a:pt x="38896" y="193949"/>
                    <a:pt x="17585" y="187748"/>
                    <a:pt x="-985" y="176366"/>
                  </a:cubicBezTo>
                  <a:lnTo>
                    <a:pt x="10528" y="146352"/>
                  </a:lnTo>
                  <a:cubicBezTo>
                    <a:pt x="25603" y="156747"/>
                    <a:pt x="43419" y="162599"/>
                    <a:pt x="61716" y="163209"/>
                  </a:cubicBezTo>
                  <a:cubicBezTo>
                    <a:pt x="83918" y="163209"/>
                    <a:pt x="94060" y="152245"/>
                    <a:pt x="94060" y="140185"/>
                  </a:cubicBezTo>
                  <a:cubicBezTo>
                    <a:pt x="94060" y="128124"/>
                    <a:pt x="87207" y="120038"/>
                    <a:pt x="52944" y="107498"/>
                  </a:cubicBezTo>
                  <a:cubicBezTo>
                    <a:pt x="16215" y="93793"/>
                    <a:pt x="3607" y="76662"/>
                    <a:pt x="3607" y="54185"/>
                  </a:cubicBezTo>
                  <a:cubicBezTo>
                    <a:pt x="3607" y="25747"/>
                    <a:pt x="26631" y="-635"/>
                    <a:pt x="66855" y="-635"/>
                  </a:cubicBezTo>
                  <a:cubicBezTo>
                    <a:pt x="84946" y="-669"/>
                    <a:pt x="102831" y="3757"/>
                    <a:pt x="118797" y="12248"/>
                  </a:cubicBezTo>
                  <a:lnTo>
                    <a:pt x="108108" y="41713"/>
                  </a:lnTo>
                  <a:cubicBezTo>
                    <a:pt x="95293" y="34265"/>
                    <a:pt x="80834" y="29948"/>
                    <a:pt x="66033" y="29105"/>
                  </a:cubicBezTo>
                  <a:cubicBezTo>
                    <a:pt x="46229" y="29105"/>
                    <a:pt x="37116" y="40138"/>
                    <a:pt x="37116" y="53226"/>
                  </a:cubicBezTo>
                  <a:cubicBezTo>
                    <a:pt x="37116" y="66314"/>
                    <a:pt x="47257" y="72824"/>
                    <a:pt x="73776" y="82417"/>
                  </a:cubicBezTo>
                  <a:cubicBezTo>
                    <a:pt x="115851" y="98795"/>
                    <a:pt x="127911" y="115378"/>
                    <a:pt x="127911" y="140047"/>
                  </a:cubicBezTo>
                  <a:cubicBezTo>
                    <a:pt x="127911" y="173556"/>
                    <a:pt x="102488" y="194182"/>
                    <a:pt x="60413" y="194182"/>
                  </a:cubicBezTo>
                </a:path>
              </a:pathLst>
            </a:custGeom>
            <a:grpFill/>
            <a:ln w="6853"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F46E1330-2734-4879-8F37-EB6C19D791BB}"/>
                </a:ext>
              </a:extLst>
            </p:cNvPr>
            <p:cNvSpPr/>
            <p:nvPr/>
          </p:nvSpPr>
          <p:spPr>
            <a:xfrm>
              <a:off x="11078876" y="560432"/>
              <a:ext cx="122523" cy="188375"/>
            </a:xfrm>
            <a:custGeom>
              <a:avLst/>
              <a:gdLst>
                <a:gd name="connsiteX0" fmla="*/ 0 w 122523"/>
                <a:gd name="connsiteY0" fmla="*/ 0 h 188375"/>
                <a:gd name="connsiteX1" fmla="*/ 0 w 122523"/>
                <a:gd name="connsiteY1" fmla="*/ 188376 h 188375"/>
                <a:gd name="connsiteX2" fmla="*/ 122523 w 122523"/>
                <a:gd name="connsiteY2" fmla="*/ 188376 h 188375"/>
                <a:gd name="connsiteX3" fmla="*/ 122523 w 122523"/>
                <a:gd name="connsiteY3" fmla="*/ 157813 h 188375"/>
                <a:gd name="connsiteX4" fmla="*/ 33303 w 122523"/>
                <a:gd name="connsiteY4" fmla="*/ 157813 h 188375"/>
                <a:gd name="connsiteX5" fmla="*/ 33303 w 122523"/>
                <a:gd name="connsiteY5" fmla="*/ 112792 h 188375"/>
                <a:gd name="connsiteX6" fmla="*/ 114163 w 122523"/>
                <a:gd name="connsiteY6" fmla="*/ 112792 h 188375"/>
                <a:gd name="connsiteX7" fmla="*/ 114163 w 122523"/>
                <a:gd name="connsiteY7" fmla="*/ 83327 h 188375"/>
                <a:gd name="connsiteX8" fmla="*/ 33303 w 122523"/>
                <a:gd name="connsiteY8" fmla="*/ 83327 h 188375"/>
                <a:gd name="connsiteX9" fmla="*/ 33303 w 122523"/>
                <a:gd name="connsiteY9" fmla="*/ 30562 h 188375"/>
                <a:gd name="connsiteX10" fmla="*/ 122523 w 122523"/>
                <a:gd name="connsiteY10" fmla="*/ 30562 h 188375"/>
                <a:gd name="connsiteX11" fmla="*/ 122523 w 122523"/>
                <a:gd name="connsiteY11" fmla="*/ 0 h 188375"/>
                <a:gd name="connsiteX12" fmla="*/ 0 w 122523"/>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523" h="188375">
                  <a:moveTo>
                    <a:pt x="0" y="0"/>
                  </a:moveTo>
                  <a:lnTo>
                    <a:pt x="0" y="188376"/>
                  </a:lnTo>
                  <a:lnTo>
                    <a:pt x="122523" y="188376"/>
                  </a:lnTo>
                  <a:lnTo>
                    <a:pt x="122523" y="157813"/>
                  </a:lnTo>
                  <a:lnTo>
                    <a:pt x="33303" y="157813"/>
                  </a:lnTo>
                  <a:lnTo>
                    <a:pt x="33303" y="112792"/>
                  </a:lnTo>
                  <a:lnTo>
                    <a:pt x="114163" y="112792"/>
                  </a:lnTo>
                  <a:lnTo>
                    <a:pt x="114163" y="83327"/>
                  </a:lnTo>
                  <a:lnTo>
                    <a:pt x="33303" y="83327"/>
                  </a:lnTo>
                  <a:lnTo>
                    <a:pt x="33303" y="30562"/>
                  </a:lnTo>
                  <a:lnTo>
                    <a:pt x="122523" y="30562"/>
                  </a:lnTo>
                  <a:lnTo>
                    <a:pt x="122523" y="0"/>
                  </a:lnTo>
                  <a:lnTo>
                    <a:pt x="0" y="0"/>
                  </a:lnTo>
                  <a:close/>
                </a:path>
              </a:pathLst>
            </a:custGeom>
            <a:grpFill/>
            <a:ln w="6853"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32ED1C32-8954-4DC5-8742-722004C6AC5D}"/>
                </a:ext>
              </a:extLst>
            </p:cNvPr>
            <p:cNvSpPr/>
            <p:nvPr/>
          </p:nvSpPr>
          <p:spPr>
            <a:xfrm>
              <a:off x="11251971" y="560432"/>
              <a:ext cx="148767" cy="189412"/>
            </a:xfrm>
            <a:custGeom>
              <a:avLst/>
              <a:gdLst>
                <a:gd name="connsiteX0" fmla="*/ 32250 w 148767"/>
                <a:gd name="connsiteY0" fmla="*/ 29927 h 189412"/>
                <a:gd name="connsiteX1" fmla="*/ 32250 w 148767"/>
                <a:gd name="connsiteY1" fmla="*/ 103592 h 189412"/>
                <a:gd name="connsiteX2" fmla="*/ 56919 w 148767"/>
                <a:gd name="connsiteY2" fmla="*/ 103592 h 189412"/>
                <a:gd name="connsiteX3" fmla="*/ 98719 w 148767"/>
                <a:gd name="connsiteY3" fmla="*/ 66383 h 189412"/>
                <a:gd name="connsiteX4" fmla="*/ 56919 w 148767"/>
                <a:gd name="connsiteY4" fmla="*/ 29927 h 189412"/>
                <a:gd name="connsiteX5" fmla="*/ -985 w 148767"/>
                <a:gd name="connsiteY5" fmla="*/ -635 h 189412"/>
                <a:gd name="connsiteX6" fmla="*/ 59317 w 148767"/>
                <a:gd name="connsiteY6" fmla="*/ -635 h 189412"/>
                <a:gd name="connsiteX7" fmla="*/ 134694 w 148767"/>
                <a:gd name="connsiteY7" fmla="*/ 66383 h 189412"/>
                <a:gd name="connsiteX8" fmla="*/ 99610 w 148767"/>
                <a:gd name="connsiteY8" fmla="*/ 125862 h 189412"/>
                <a:gd name="connsiteX9" fmla="*/ 140314 w 148767"/>
                <a:gd name="connsiteY9" fmla="*/ 157727 h 189412"/>
                <a:gd name="connsiteX10" fmla="*/ 147783 w 148767"/>
                <a:gd name="connsiteY10" fmla="*/ 157727 h 189412"/>
                <a:gd name="connsiteX11" fmla="*/ 147783 w 148767"/>
                <a:gd name="connsiteY11" fmla="*/ 187192 h 189412"/>
                <a:gd name="connsiteX12" fmla="*/ 129829 w 148767"/>
                <a:gd name="connsiteY12" fmla="*/ 188768 h 189412"/>
                <a:gd name="connsiteX13" fmla="*/ 62880 w 148767"/>
                <a:gd name="connsiteY13" fmla="*/ 132783 h 189412"/>
                <a:gd name="connsiteX14" fmla="*/ 52944 w 148767"/>
                <a:gd name="connsiteY14" fmla="*/ 132783 h 189412"/>
                <a:gd name="connsiteX15" fmla="*/ 32387 w 148767"/>
                <a:gd name="connsiteY15" fmla="*/ 132783 h 189412"/>
                <a:gd name="connsiteX16" fmla="*/ 32387 w 148767"/>
                <a:gd name="connsiteY16" fmla="*/ 187604 h 189412"/>
                <a:gd name="connsiteX17" fmla="*/ -848 w 148767"/>
                <a:gd name="connsiteY17" fmla="*/ 187604 h 189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8767" h="189412">
                  <a:moveTo>
                    <a:pt x="32250" y="29927"/>
                  </a:moveTo>
                  <a:lnTo>
                    <a:pt x="32250" y="103592"/>
                  </a:lnTo>
                  <a:lnTo>
                    <a:pt x="56919" y="103592"/>
                  </a:lnTo>
                  <a:cubicBezTo>
                    <a:pt x="87961" y="103592"/>
                    <a:pt x="98719" y="87009"/>
                    <a:pt x="98719" y="66383"/>
                  </a:cubicBezTo>
                  <a:cubicBezTo>
                    <a:pt x="98719" y="45756"/>
                    <a:pt x="88235" y="29927"/>
                    <a:pt x="56919" y="29927"/>
                  </a:cubicBezTo>
                  <a:close/>
                  <a:moveTo>
                    <a:pt x="-985" y="-635"/>
                  </a:moveTo>
                  <a:lnTo>
                    <a:pt x="59317" y="-635"/>
                  </a:lnTo>
                  <a:cubicBezTo>
                    <a:pt x="109409" y="-635"/>
                    <a:pt x="134694" y="26775"/>
                    <a:pt x="134694" y="66383"/>
                  </a:cubicBezTo>
                  <a:cubicBezTo>
                    <a:pt x="134832" y="91154"/>
                    <a:pt x="121332" y="113994"/>
                    <a:pt x="99610" y="125862"/>
                  </a:cubicBezTo>
                  <a:cubicBezTo>
                    <a:pt x="113795" y="138128"/>
                    <a:pt x="117769" y="157727"/>
                    <a:pt x="140314" y="157727"/>
                  </a:cubicBezTo>
                  <a:lnTo>
                    <a:pt x="147783" y="157727"/>
                  </a:lnTo>
                  <a:lnTo>
                    <a:pt x="147783" y="187192"/>
                  </a:lnTo>
                  <a:cubicBezTo>
                    <a:pt x="141890" y="188323"/>
                    <a:pt x="135860" y="188851"/>
                    <a:pt x="129829" y="188768"/>
                  </a:cubicBezTo>
                  <a:cubicBezTo>
                    <a:pt x="82958" y="188768"/>
                    <a:pt x="85631" y="145666"/>
                    <a:pt x="62880" y="132783"/>
                  </a:cubicBezTo>
                  <a:cubicBezTo>
                    <a:pt x="59660" y="132783"/>
                    <a:pt x="56439" y="132783"/>
                    <a:pt x="52944" y="132783"/>
                  </a:cubicBezTo>
                  <a:lnTo>
                    <a:pt x="32387" y="132783"/>
                  </a:lnTo>
                  <a:lnTo>
                    <a:pt x="32387" y="187604"/>
                  </a:lnTo>
                  <a:lnTo>
                    <a:pt x="-848" y="187604"/>
                  </a:lnTo>
                  <a:close/>
                </a:path>
              </a:pathLst>
            </a:custGeom>
            <a:grpFill/>
            <a:ln w="6853"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4D9BA3F8-B706-48D2-84A5-BAF60046424E}"/>
                </a:ext>
              </a:extLst>
            </p:cNvPr>
            <p:cNvSpPr/>
            <p:nvPr/>
          </p:nvSpPr>
          <p:spPr>
            <a:xfrm>
              <a:off x="11411155" y="560432"/>
              <a:ext cx="185977" cy="190774"/>
            </a:xfrm>
            <a:custGeom>
              <a:avLst/>
              <a:gdLst>
                <a:gd name="connsiteX0" fmla="*/ 151098 w 185977"/>
                <a:gd name="connsiteY0" fmla="*/ 0 h 190774"/>
                <a:gd name="connsiteX1" fmla="*/ 93263 w 185977"/>
                <a:gd name="connsiteY1" fmla="*/ 128622 h 190774"/>
                <a:gd name="connsiteX2" fmla="*/ 35633 w 185977"/>
                <a:gd name="connsiteY2" fmla="*/ 0 h 190774"/>
                <a:gd name="connsiteX3" fmla="*/ 0 w 185977"/>
                <a:gd name="connsiteY3" fmla="*/ 0 h 190774"/>
                <a:gd name="connsiteX4" fmla="*/ 87370 w 185977"/>
                <a:gd name="connsiteY4" fmla="*/ 190774 h 190774"/>
                <a:gd name="connsiteX5" fmla="*/ 98608 w 185977"/>
                <a:gd name="connsiteY5" fmla="*/ 190774 h 190774"/>
                <a:gd name="connsiteX6" fmla="*/ 185977 w 185977"/>
                <a:gd name="connsiteY6" fmla="*/ 0 h 190774"/>
                <a:gd name="connsiteX7" fmla="*/ 151098 w 185977"/>
                <a:gd name="connsiteY7" fmla="*/ 0 h 19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977" h="190774">
                  <a:moveTo>
                    <a:pt x="151098" y="0"/>
                  </a:moveTo>
                  <a:lnTo>
                    <a:pt x="93263" y="128622"/>
                  </a:lnTo>
                  <a:lnTo>
                    <a:pt x="35633" y="0"/>
                  </a:lnTo>
                  <a:lnTo>
                    <a:pt x="0" y="0"/>
                  </a:lnTo>
                  <a:lnTo>
                    <a:pt x="87370" y="190774"/>
                  </a:lnTo>
                  <a:lnTo>
                    <a:pt x="98608" y="190774"/>
                  </a:lnTo>
                  <a:lnTo>
                    <a:pt x="185977" y="0"/>
                  </a:lnTo>
                  <a:lnTo>
                    <a:pt x="151098" y="0"/>
                  </a:lnTo>
                  <a:close/>
                </a:path>
              </a:pathLst>
            </a:custGeom>
            <a:grpFill/>
            <a:ln w="6853"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34C49746-C7B2-49F5-9848-5ED10587F0C5}"/>
                </a:ext>
              </a:extLst>
            </p:cNvPr>
            <p:cNvSpPr/>
            <p:nvPr/>
          </p:nvSpPr>
          <p:spPr>
            <a:xfrm>
              <a:off x="11631395" y="560432"/>
              <a:ext cx="122454" cy="188375"/>
            </a:xfrm>
            <a:custGeom>
              <a:avLst/>
              <a:gdLst>
                <a:gd name="connsiteX0" fmla="*/ 0 w 122454"/>
                <a:gd name="connsiteY0" fmla="*/ 0 h 188375"/>
                <a:gd name="connsiteX1" fmla="*/ 0 w 122454"/>
                <a:gd name="connsiteY1" fmla="*/ 188376 h 188375"/>
                <a:gd name="connsiteX2" fmla="*/ 122454 w 122454"/>
                <a:gd name="connsiteY2" fmla="*/ 188376 h 188375"/>
                <a:gd name="connsiteX3" fmla="*/ 122454 w 122454"/>
                <a:gd name="connsiteY3" fmla="*/ 157813 h 188375"/>
                <a:gd name="connsiteX4" fmla="*/ 33235 w 122454"/>
                <a:gd name="connsiteY4" fmla="*/ 157813 h 188375"/>
                <a:gd name="connsiteX5" fmla="*/ 33235 w 122454"/>
                <a:gd name="connsiteY5" fmla="*/ 112792 h 188375"/>
                <a:gd name="connsiteX6" fmla="*/ 114163 w 122454"/>
                <a:gd name="connsiteY6" fmla="*/ 112792 h 188375"/>
                <a:gd name="connsiteX7" fmla="*/ 114163 w 122454"/>
                <a:gd name="connsiteY7" fmla="*/ 83327 h 188375"/>
                <a:gd name="connsiteX8" fmla="*/ 33235 w 122454"/>
                <a:gd name="connsiteY8" fmla="*/ 83327 h 188375"/>
                <a:gd name="connsiteX9" fmla="*/ 33235 w 122454"/>
                <a:gd name="connsiteY9" fmla="*/ 30562 h 188375"/>
                <a:gd name="connsiteX10" fmla="*/ 122454 w 122454"/>
                <a:gd name="connsiteY10" fmla="*/ 30562 h 188375"/>
                <a:gd name="connsiteX11" fmla="*/ 122454 w 122454"/>
                <a:gd name="connsiteY11" fmla="*/ 0 h 188375"/>
                <a:gd name="connsiteX12" fmla="*/ 0 w 122454"/>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75">
                  <a:moveTo>
                    <a:pt x="0" y="0"/>
                  </a:moveTo>
                  <a:lnTo>
                    <a:pt x="0" y="188376"/>
                  </a:lnTo>
                  <a:lnTo>
                    <a:pt x="122454" y="188376"/>
                  </a:lnTo>
                  <a:lnTo>
                    <a:pt x="122454" y="157813"/>
                  </a:lnTo>
                  <a:lnTo>
                    <a:pt x="33235" y="157813"/>
                  </a:lnTo>
                  <a:lnTo>
                    <a:pt x="33235" y="112792"/>
                  </a:lnTo>
                  <a:lnTo>
                    <a:pt x="114163" y="112792"/>
                  </a:lnTo>
                  <a:lnTo>
                    <a:pt x="114163" y="83327"/>
                  </a:lnTo>
                  <a:lnTo>
                    <a:pt x="33235" y="83327"/>
                  </a:lnTo>
                  <a:lnTo>
                    <a:pt x="33235" y="30562"/>
                  </a:lnTo>
                  <a:lnTo>
                    <a:pt x="122454" y="30562"/>
                  </a:lnTo>
                  <a:lnTo>
                    <a:pt x="122454" y="0"/>
                  </a:lnTo>
                  <a:lnTo>
                    <a:pt x="0" y="0"/>
                  </a:lnTo>
                  <a:close/>
                </a:path>
              </a:pathLst>
            </a:custGeom>
            <a:grpFill/>
            <a:ln w="6853" cap="flat">
              <a:noFill/>
              <a:prstDash val="solid"/>
              <a:miter/>
            </a:ln>
          </p:spPr>
          <p:txBody>
            <a:bodyPr rtlCol="0" anchor="ctr"/>
            <a:lstStyle/>
            <a:p>
              <a:endParaRPr lang="en-GB"/>
            </a:p>
          </p:txBody>
        </p:sp>
      </p:grpSp>
      <p:sp>
        <p:nvSpPr>
          <p:cNvPr id="23" name="Title 22">
            <a:extLst>
              <a:ext uri="{FF2B5EF4-FFF2-40B4-BE49-F238E27FC236}">
                <a16:creationId xmlns:a16="http://schemas.microsoft.com/office/drawing/2014/main" id="{09E82F87-CF4A-4A93-9472-B0DDD5EDA077}"/>
              </a:ext>
            </a:extLst>
          </p:cNvPr>
          <p:cNvSpPr>
            <a:spLocks noGrp="1"/>
          </p:cNvSpPr>
          <p:nvPr>
            <p:ph type="title" hasCustomPrompt="1"/>
          </p:nvPr>
        </p:nvSpPr>
        <p:spPr>
          <a:xfrm>
            <a:off x="587375" y="2153891"/>
            <a:ext cx="5156200" cy="1999009"/>
          </a:xfrm>
        </p:spPr>
        <p:txBody>
          <a:bodyPr lIns="0" tIns="0" rIns="0" bIns="0" anchor="b" anchorCtr="0">
            <a:spAutoFit/>
          </a:bodyPr>
          <a:lstStyle>
            <a:lvl1pPr>
              <a:defRPr sz="3600">
                <a:solidFill>
                  <a:schemeClr val="bg1"/>
                </a:solidFill>
              </a:defRPr>
            </a:lvl1pPr>
          </a:lstStyle>
          <a:p>
            <a:r>
              <a:rPr lang="en-US"/>
              <a:t>Title placeholder </a:t>
            </a:r>
            <a:r>
              <a:rPr lang="en-US" err="1"/>
              <a:t>alitori</a:t>
            </a:r>
            <a:r>
              <a:rPr lang="en-US"/>
              <a:t> </a:t>
            </a:r>
            <a:r>
              <a:rPr lang="en-US" err="1"/>
              <a:t>ut</a:t>
            </a:r>
            <a:r>
              <a:rPr lang="en-US"/>
              <a:t> </a:t>
            </a:r>
            <a:r>
              <a:rPr lang="en-US" err="1"/>
              <a:t>exeri</a:t>
            </a:r>
            <a:r>
              <a:rPr lang="en-US"/>
              <a:t> </a:t>
            </a:r>
            <a:r>
              <a:rPr lang="en-US" err="1"/>
              <a:t>bearitati</a:t>
            </a:r>
            <a:r>
              <a:rPr lang="en-US"/>
              <a:t> </a:t>
            </a:r>
            <a:r>
              <a:rPr lang="en-US" err="1"/>
              <a:t>ut</a:t>
            </a:r>
            <a:r>
              <a:rPr lang="en-US"/>
              <a:t> volent </a:t>
            </a:r>
            <a:r>
              <a:rPr lang="en-US" err="1"/>
              <a:t>lamusdae</a:t>
            </a:r>
            <a:r>
              <a:rPr lang="en-US"/>
              <a:t> es qui.</a:t>
            </a:r>
            <a:endParaRPr lang="en-GB"/>
          </a:p>
        </p:txBody>
      </p:sp>
      <p:sp>
        <p:nvSpPr>
          <p:cNvPr id="24" name="Picture Placeholder 6">
            <a:extLst>
              <a:ext uri="{FF2B5EF4-FFF2-40B4-BE49-F238E27FC236}">
                <a16:creationId xmlns:a16="http://schemas.microsoft.com/office/drawing/2014/main" id="{0B64978E-A3A5-41EF-A538-9F123ECC69B9}"/>
              </a:ext>
            </a:extLst>
          </p:cNvPr>
          <p:cNvSpPr>
            <a:spLocks noGrp="1"/>
          </p:cNvSpPr>
          <p:nvPr>
            <p:ph type="pic" sz="quarter" idx="10"/>
          </p:nvPr>
        </p:nvSpPr>
        <p:spPr>
          <a:xfrm>
            <a:off x="571500" y="5826125"/>
            <a:ext cx="2093913" cy="650875"/>
          </a:xfrm>
        </p:spPr>
        <p:txBody>
          <a:bodyPr/>
          <a:lstStyle>
            <a:lvl1pPr marL="0" indent="0">
              <a:buFontTx/>
              <a:buNone/>
              <a:defRPr>
                <a:solidFill>
                  <a:schemeClr val="bg1"/>
                </a:solidFill>
              </a:defRPr>
            </a:lvl1pPr>
          </a:lstStyle>
          <a:p>
            <a:endParaRPr lang="en-IN"/>
          </a:p>
        </p:txBody>
      </p:sp>
    </p:spTree>
    <p:custDataLst>
      <p:tags r:id="rId1"/>
    </p:custDataLst>
    <p:extLst>
      <p:ext uri="{BB962C8B-B14F-4D97-AF65-F5344CB8AC3E}">
        <p14:creationId xmlns:p14="http://schemas.microsoft.com/office/powerpoint/2010/main" val="900889762"/>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2 Charts side by s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912E86-6E38-4F10-8E64-15B667979BB3}"/>
              </a:ext>
            </a:extLst>
          </p:cNvPr>
          <p:cNvGraphicFramePr>
            <a:graphicFrameLocks noChangeAspect="1"/>
          </p:cNvGraphicFramePr>
          <p:nvPr userDrawn="1">
            <p:custDataLst>
              <p:tags r:id="rId2"/>
            </p:custDataLst>
            <p:extLst>
              <p:ext uri="{D42A27DB-BD31-4B8C-83A1-F6EECF244321}">
                <p14:modId xmlns:p14="http://schemas.microsoft.com/office/powerpoint/2010/main" val="2164772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EE912E86-6E38-4F10-8E64-15B667979B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36959F-2346-401A-BA9A-ED98F6034A4D}"/>
              </a:ext>
            </a:extLst>
          </p:cNvPr>
          <p:cNvSpPr>
            <a:spLocks noGrp="1"/>
          </p:cNvSpPr>
          <p:nvPr>
            <p:ph type="title" hasCustomPrompt="1"/>
          </p:nvPr>
        </p:nvSpPr>
        <p:spPr>
          <a:xfrm>
            <a:off x="587375" y="393192"/>
            <a:ext cx="10980738" cy="548640"/>
          </a:xfrm>
        </p:spPr>
        <p:txBody>
          <a:bodyPr vert="horz" anchor="ctr"/>
          <a:lstStyle>
            <a:lvl1pPr>
              <a:defRPr>
                <a:solidFill>
                  <a:schemeClr val="accent1"/>
                </a:solidFill>
              </a:defRPr>
            </a:lvl1pPr>
          </a:lstStyle>
          <a:p>
            <a:r>
              <a:rPr lang="en-US"/>
              <a:t>H1 placeholder.</a:t>
            </a:r>
            <a:endParaRPr lang="en-GB"/>
          </a:p>
        </p:txBody>
      </p:sp>
    </p:spTree>
    <p:custDataLst>
      <p:tags r:id="rId1"/>
    </p:custDataLst>
    <p:extLst>
      <p:ext uri="{BB962C8B-B14F-4D97-AF65-F5344CB8AC3E}">
        <p14:creationId xmlns:p14="http://schemas.microsoft.com/office/powerpoint/2010/main" val="18902119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Agenda">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7D8314A2-B054-4AB5-A824-18B3732F1E3A}"/>
              </a:ext>
            </a:extLst>
          </p:cNvPr>
          <p:cNvSpPr>
            <a:spLocks noGrp="1"/>
          </p:cNvSpPr>
          <p:nvPr>
            <p:ph type="pic" sz="quarter" idx="28" hasCustomPrompt="1"/>
          </p:nvPr>
        </p:nvSpPr>
        <p:spPr>
          <a:xfrm>
            <a:off x="6987572" y="4594225"/>
            <a:ext cx="5204428" cy="2263775"/>
          </a:xfrm>
          <a:custGeom>
            <a:avLst/>
            <a:gdLst>
              <a:gd name="connsiteX0" fmla="*/ 2255238 w 5204428"/>
              <a:gd name="connsiteY0" fmla="*/ 0 h 2263775"/>
              <a:gd name="connsiteX1" fmla="*/ 5204428 w 5204428"/>
              <a:gd name="connsiteY1" fmla="*/ 0 h 2263775"/>
              <a:gd name="connsiteX2" fmla="*/ 5204428 w 5204428"/>
              <a:gd name="connsiteY2" fmla="*/ 2263775 h 2263775"/>
              <a:gd name="connsiteX3" fmla="*/ 0 w 5204428"/>
              <a:gd name="connsiteY3" fmla="*/ 2263775 h 2263775"/>
              <a:gd name="connsiteX4" fmla="*/ 2032725 w 5204428"/>
              <a:gd name="connsiteY4" fmla="*/ 11236 h 2263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4428" h="2263775">
                <a:moveTo>
                  <a:pt x="2255238" y="0"/>
                </a:moveTo>
                <a:lnTo>
                  <a:pt x="5204428" y="0"/>
                </a:lnTo>
                <a:lnTo>
                  <a:pt x="5204428" y="2263775"/>
                </a:lnTo>
                <a:lnTo>
                  <a:pt x="0" y="2263775"/>
                </a:lnTo>
                <a:cubicBezTo>
                  <a:pt x="0" y="1091432"/>
                  <a:pt x="890974" y="127187"/>
                  <a:pt x="2032725" y="11236"/>
                </a:cubicBezTo>
                <a:close/>
              </a:path>
            </a:pathLst>
          </a:custGeom>
          <a:solidFill>
            <a:srgbClr val="E6E7E8"/>
          </a:solidFill>
        </p:spPr>
        <p:txBody>
          <a:bodyPr wrap="square" anchor="ctr" anchorCtr="1">
            <a:noAutofit/>
          </a:bodyPr>
          <a:lstStyle>
            <a:lvl1pPr marL="0" indent="0" algn="ctr">
              <a:buNone/>
              <a:defRPr/>
            </a:lvl1pPr>
          </a:lstStyle>
          <a:p>
            <a:r>
              <a:rPr lang="en-US"/>
              <a:t>Picture placeholder</a:t>
            </a:r>
          </a:p>
          <a:p>
            <a:r>
              <a:rPr lang="en-US"/>
              <a:t>Click icon to add image</a:t>
            </a:r>
            <a:endParaRPr lang="en-GB"/>
          </a:p>
        </p:txBody>
      </p:sp>
      <p:sp>
        <p:nvSpPr>
          <p:cNvPr id="6" name="Title 5">
            <a:extLst>
              <a:ext uri="{FF2B5EF4-FFF2-40B4-BE49-F238E27FC236}">
                <a16:creationId xmlns:a16="http://schemas.microsoft.com/office/drawing/2014/main" id="{84443F72-AD09-4CCC-AC53-720EB504255C}"/>
              </a:ext>
            </a:extLst>
          </p:cNvPr>
          <p:cNvSpPr>
            <a:spLocks noGrp="1"/>
          </p:cNvSpPr>
          <p:nvPr>
            <p:ph type="title" hasCustomPrompt="1"/>
          </p:nvPr>
        </p:nvSpPr>
        <p:spPr>
          <a:xfrm>
            <a:off x="838200" y="1279525"/>
            <a:ext cx="10319327" cy="697057"/>
          </a:xfrm>
        </p:spPr>
        <p:txBody>
          <a:bodyPr anchor="t" anchorCtr="0"/>
          <a:lstStyle>
            <a:lvl1pPr>
              <a:defRPr/>
            </a:lvl1pPr>
          </a:lstStyle>
          <a:p>
            <a:r>
              <a:rPr lang="en-US"/>
              <a:t>Presentation summary.</a:t>
            </a:r>
            <a:endParaRPr lang="en-GB"/>
          </a:p>
        </p:txBody>
      </p:sp>
      <p:sp>
        <p:nvSpPr>
          <p:cNvPr id="9" name="Text Placeholder 8">
            <a:extLst>
              <a:ext uri="{FF2B5EF4-FFF2-40B4-BE49-F238E27FC236}">
                <a16:creationId xmlns:a16="http://schemas.microsoft.com/office/drawing/2014/main" id="{1A479413-65CF-41A1-94EB-54E35CBE708C}"/>
              </a:ext>
            </a:extLst>
          </p:cNvPr>
          <p:cNvSpPr>
            <a:spLocks noGrp="1"/>
          </p:cNvSpPr>
          <p:nvPr>
            <p:ph type="body" sz="quarter" idx="14" hasCustomPrompt="1"/>
          </p:nvPr>
        </p:nvSpPr>
        <p:spPr>
          <a:xfrm>
            <a:off x="838199" y="2269286"/>
            <a:ext cx="1693864" cy="289109"/>
          </a:xfrm>
        </p:spPr>
        <p:txBody>
          <a:bodyPr wrap="square" anchor="ctr" anchorCtr="0">
            <a:normAutofit/>
          </a:bodyPr>
          <a:lstStyle>
            <a:lvl1pPr marL="0" indent="0">
              <a:buNone/>
              <a:defRPr sz="1400" b="1">
                <a:solidFill>
                  <a:schemeClr val="tx2"/>
                </a:solidFill>
              </a:defRPr>
            </a:lvl1pPr>
          </a:lstStyle>
          <a:p>
            <a:pPr lvl="0"/>
            <a:r>
              <a:rPr lang="en-GB"/>
              <a:t>Summary 1</a:t>
            </a:r>
          </a:p>
        </p:txBody>
      </p:sp>
      <p:sp>
        <p:nvSpPr>
          <p:cNvPr id="11" name="Text Placeholder 8">
            <a:extLst>
              <a:ext uri="{FF2B5EF4-FFF2-40B4-BE49-F238E27FC236}">
                <a16:creationId xmlns:a16="http://schemas.microsoft.com/office/drawing/2014/main" id="{573B3E61-F020-4540-BB2E-F379C58A23EA}"/>
              </a:ext>
            </a:extLst>
          </p:cNvPr>
          <p:cNvSpPr>
            <a:spLocks noGrp="1"/>
          </p:cNvSpPr>
          <p:nvPr>
            <p:ph type="body" sz="quarter" idx="15" hasCustomPrompt="1"/>
          </p:nvPr>
        </p:nvSpPr>
        <p:spPr>
          <a:xfrm>
            <a:off x="2532063" y="2269286"/>
            <a:ext cx="5421056" cy="289109"/>
          </a:xfrm>
        </p:spPr>
        <p:txBody>
          <a:bodyPr wrap="square" anchor="ctr" anchorCtr="0">
            <a:spAutoFit/>
          </a:bodyPr>
          <a:lstStyle>
            <a:lvl1pPr marL="0" indent="-144000">
              <a:buClr>
                <a:schemeClr val="accent2"/>
              </a:buClr>
              <a:buSzPct val="100000"/>
              <a:buFont typeface="Arial" panose="020B0604020202020204" pitchFamily="34" charset="0"/>
              <a:buChar char="•"/>
              <a:defRPr sz="1400">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piscing</a:t>
            </a:r>
            <a:r>
              <a:rPr lang="en-GB"/>
              <a:t> </a:t>
            </a:r>
          </a:p>
        </p:txBody>
      </p:sp>
      <p:sp>
        <p:nvSpPr>
          <p:cNvPr id="76" name="Text Placeholder 8">
            <a:extLst>
              <a:ext uri="{FF2B5EF4-FFF2-40B4-BE49-F238E27FC236}">
                <a16:creationId xmlns:a16="http://schemas.microsoft.com/office/drawing/2014/main" id="{A606A7F9-97EC-4953-9661-FE18E546D441}"/>
              </a:ext>
            </a:extLst>
          </p:cNvPr>
          <p:cNvSpPr>
            <a:spLocks noGrp="1"/>
          </p:cNvSpPr>
          <p:nvPr>
            <p:ph type="body" sz="quarter" idx="16" hasCustomPrompt="1"/>
          </p:nvPr>
        </p:nvSpPr>
        <p:spPr>
          <a:xfrm>
            <a:off x="838199" y="2582017"/>
            <a:ext cx="1693864" cy="289109"/>
          </a:xfrm>
        </p:spPr>
        <p:txBody>
          <a:bodyPr wrap="square" anchor="ctr" anchorCtr="0">
            <a:normAutofit/>
          </a:bodyPr>
          <a:lstStyle>
            <a:lvl1pPr marL="0" indent="0">
              <a:buNone/>
              <a:defRPr sz="1400" b="1">
                <a:solidFill>
                  <a:schemeClr val="tx2"/>
                </a:solidFill>
              </a:defRPr>
            </a:lvl1pPr>
          </a:lstStyle>
          <a:p>
            <a:pPr lvl="0"/>
            <a:r>
              <a:rPr lang="en-GB"/>
              <a:t>Summary 2</a:t>
            </a:r>
          </a:p>
        </p:txBody>
      </p:sp>
      <p:sp>
        <p:nvSpPr>
          <p:cNvPr id="77" name="Text Placeholder 8">
            <a:extLst>
              <a:ext uri="{FF2B5EF4-FFF2-40B4-BE49-F238E27FC236}">
                <a16:creationId xmlns:a16="http://schemas.microsoft.com/office/drawing/2014/main" id="{BF4F0FDD-F05C-44BE-8A91-F0313B8F9E15}"/>
              </a:ext>
            </a:extLst>
          </p:cNvPr>
          <p:cNvSpPr>
            <a:spLocks noGrp="1"/>
          </p:cNvSpPr>
          <p:nvPr>
            <p:ph type="body" sz="quarter" idx="17" hasCustomPrompt="1"/>
          </p:nvPr>
        </p:nvSpPr>
        <p:spPr>
          <a:xfrm>
            <a:off x="2532063" y="2582017"/>
            <a:ext cx="5421056" cy="289109"/>
          </a:xfrm>
        </p:spPr>
        <p:txBody>
          <a:bodyPr wrap="square" anchor="ctr" anchorCtr="0">
            <a:spAutoFit/>
          </a:bodyPr>
          <a:lstStyle>
            <a:lvl1pPr marL="0" indent="-144000">
              <a:buClr>
                <a:schemeClr val="accent2"/>
              </a:buClr>
              <a:buSzPct val="100000"/>
              <a:buFont typeface="Arial" panose="020B0604020202020204" pitchFamily="34" charset="0"/>
              <a:buChar char="•"/>
              <a:defRPr sz="1400">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piscing</a:t>
            </a:r>
            <a:r>
              <a:rPr lang="en-GB"/>
              <a:t> </a:t>
            </a:r>
          </a:p>
        </p:txBody>
      </p:sp>
      <p:sp>
        <p:nvSpPr>
          <p:cNvPr id="78" name="Text Placeholder 8">
            <a:extLst>
              <a:ext uri="{FF2B5EF4-FFF2-40B4-BE49-F238E27FC236}">
                <a16:creationId xmlns:a16="http://schemas.microsoft.com/office/drawing/2014/main" id="{CAEFF54E-991B-473F-9A16-54DA66AD335F}"/>
              </a:ext>
            </a:extLst>
          </p:cNvPr>
          <p:cNvSpPr>
            <a:spLocks noGrp="1"/>
          </p:cNvSpPr>
          <p:nvPr>
            <p:ph type="body" sz="quarter" idx="18" hasCustomPrompt="1"/>
          </p:nvPr>
        </p:nvSpPr>
        <p:spPr>
          <a:xfrm>
            <a:off x="838199" y="2894748"/>
            <a:ext cx="1693864" cy="289109"/>
          </a:xfrm>
        </p:spPr>
        <p:txBody>
          <a:bodyPr wrap="square" anchor="ctr" anchorCtr="0">
            <a:normAutofit/>
          </a:bodyPr>
          <a:lstStyle>
            <a:lvl1pPr marL="0" indent="0">
              <a:buNone/>
              <a:defRPr sz="1400" b="1">
                <a:solidFill>
                  <a:schemeClr val="tx2"/>
                </a:solidFill>
              </a:defRPr>
            </a:lvl1pPr>
          </a:lstStyle>
          <a:p>
            <a:pPr lvl="0"/>
            <a:r>
              <a:rPr lang="en-GB"/>
              <a:t>Summary 3</a:t>
            </a:r>
          </a:p>
        </p:txBody>
      </p:sp>
      <p:sp>
        <p:nvSpPr>
          <p:cNvPr id="79" name="Text Placeholder 8">
            <a:extLst>
              <a:ext uri="{FF2B5EF4-FFF2-40B4-BE49-F238E27FC236}">
                <a16:creationId xmlns:a16="http://schemas.microsoft.com/office/drawing/2014/main" id="{ED57F747-3777-44F3-9B90-6F1394B29D50}"/>
              </a:ext>
            </a:extLst>
          </p:cNvPr>
          <p:cNvSpPr>
            <a:spLocks noGrp="1"/>
          </p:cNvSpPr>
          <p:nvPr>
            <p:ph type="body" sz="quarter" idx="19" hasCustomPrompt="1"/>
          </p:nvPr>
        </p:nvSpPr>
        <p:spPr>
          <a:xfrm>
            <a:off x="2532063" y="2894748"/>
            <a:ext cx="5421056" cy="289109"/>
          </a:xfrm>
        </p:spPr>
        <p:txBody>
          <a:bodyPr wrap="square" anchor="ctr" anchorCtr="0">
            <a:spAutoFit/>
          </a:bodyPr>
          <a:lstStyle>
            <a:lvl1pPr marL="0" indent="-144000">
              <a:buClr>
                <a:schemeClr val="accent2"/>
              </a:buClr>
              <a:buSzPct val="100000"/>
              <a:buFont typeface="Arial" panose="020B0604020202020204" pitchFamily="34" charset="0"/>
              <a:buChar char="•"/>
              <a:defRPr sz="1400">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piscing</a:t>
            </a:r>
            <a:r>
              <a:rPr lang="en-GB"/>
              <a:t> </a:t>
            </a:r>
          </a:p>
        </p:txBody>
      </p:sp>
      <p:sp>
        <p:nvSpPr>
          <p:cNvPr id="80" name="Text Placeholder 8">
            <a:extLst>
              <a:ext uri="{FF2B5EF4-FFF2-40B4-BE49-F238E27FC236}">
                <a16:creationId xmlns:a16="http://schemas.microsoft.com/office/drawing/2014/main" id="{A8C13E20-7274-4B23-8419-D5C0120709D1}"/>
              </a:ext>
            </a:extLst>
          </p:cNvPr>
          <p:cNvSpPr>
            <a:spLocks noGrp="1"/>
          </p:cNvSpPr>
          <p:nvPr>
            <p:ph type="body" sz="quarter" idx="20" hasCustomPrompt="1"/>
          </p:nvPr>
        </p:nvSpPr>
        <p:spPr>
          <a:xfrm>
            <a:off x="838199" y="3207479"/>
            <a:ext cx="1693864" cy="289109"/>
          </a:xfrm>
        </p:spPr>
        <p:txBody>
          <a:bodyPr wrap="square" anchor="ctr" anchorCtr="0">
            <a:normAutofit/>
          </a:bodyPr>
          <a:lstStyle>
            <a:lvl1pPr marL="0" indent="0">
              <a:buNone/>
              <a:defRPr sz="1400" b="1">
                <a:solidFill>
                  <a:schemeClr val="tx2"/>
                </a:solidFill>
              </a:defRPr>
            </a:lvl1pPr>
          </a:lstStyle>
          <a:p>
            <a:pPr lvl="0"/>
            <a:r>
              <a:rPr lang="en-GB"/>
              <a:t>Summary 4</a:t>
            </a:r>
          </a:p>
        </p:txBody>
      </p:sp>
      <p:sp>
        <p:nvSpPr>
          <p:cNvPr id="81" name="Text Placeholder 8">
            <a:extLst>
              <a:ext uri="{FF2B5EF4-FFF2-40B4-BE49-F238E27FC236}">
                <a16:creationId xmlns:a16="http://schemas.microsoft.com/office/drawing/2014/main" id="{5E05D584-D02B-4294-BBF6-65535F303F64}"/>
              </a:ext>
            </a:extLst>
          </p:cNvPr>
          <p:cNvSpPr>
            <a:spLocks noGrp="1"/>
          </p:cNvSpPr>
          <p:nvPr>
            <p:ph type="body" sz="quarter" idx="21" hasCustomPrompt="1"/>
          </p:nvPr>
        </p:nvSpPr>
        <p:spPr>
          <a:xfrm>
            <a:off x="2532063" y="3207479"/>
            <a:ext cx="5421056" cy="289109"/>
          </a:xfrm>
        </p:spPr>
        <p:txBody>
          <a:bodyPr wrap="square" anchor="ctr" anchorCtr="0">
            <a:spAutoFit/>
          </a:bodyPr>
          <a:lstStyle>
            <a:lvl1pPr marL="0" indent="-144000">
              <a:buClr>
                <a:schemeClr val="accent2"/>
              </a:buClr>
              <a:buSzPct val="100000"/>
              <a:buFont typeface="Arial" panose="020B0604020202020204" pitchFamily="34" charset="0"/>
              <a:buChar char="•"/>
              <a:defRPr sz="1400">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piscing</a:t>
            </a:r>
            <a:r>
              <a:rPr lang="en-GB"/>
              <a:t> </a:t>
            </a:r>
          </a:p>
        </p:txBody>
      </p:sp>
      <p:sp>
        <p:nvSpPr>
          <p:cNvPr id="82" name="Text Placeholder 8">
            <a:extLst>
              <a:ext uri="{FF2B5EF4-FFF2-40B4-BE49-F238E27FC236}">
                <a16:creationId xmlns:a16="http://schemas.microsoft.com/office/drawing/2014/main" id="{3B3D6840-C707-413E-8BC7-D4ECF7401008}"/>
              </a:ext>
            </a:extLst>
          </p:cNvPr>
          <p:cNvSpPr>
            <a:spLocks noGrp="1"/>
          </p:cNvSpPr>
          <p:nvPr>
            <p:ph type="body" sz="quarter" idx="22" hasCustomPrompt="1"/>
          </p:nvPr>
        </p:nvSpPr>
        <p:spPr>
          <a:xfrm>
            <a:off x="838199" y="3520210"/>
            <a:ext cx="1693864" cy="289109"/>
          </a:xfrm>
        </p:spPr>
        <p:txBody>
          <a:bodyPr wrap="square" anchor="ctr" anchorCtr="0">
            <a:normAutofit/>
          </a:bodyPr>
          <a:lstStyle>
            <a:lvl1pPr marL="0" indent="0">
              <a:buNone/>
              <a:defRPr sz="1400" b="1">
                <a:solidFill>
                  <a:schemeClr val="tx2"/>
                </a:solidFill>
              </a:defRPr>
            </a:lvl1pPr>
          </a:lstStyle>
          <a:p>
            <a:pPr lvl="0"/>
            <a:r>
              <a:rPr lang="en-GB"/>
              <a:t>Summary 5</a:t>
            </a:r>
          </a:p>
        </p:txBody>
      </p:sp>
      <p:sp>
        <p:nvSpPr>
          <p:cNvPr id="83" name="Text Placeholder 8">
            <a:extLst>
              <a:ext uri="{FF2B5EF4-FFF2-40B4-BE49-F238E27FC236}">
                <a16:creationId xmlns:a16="http://schemas.microsoft.com/office/drawing/2014/main" id="{9174C7E3-EBA5-42C3-A362-FAE6EEE60A81}"/>
              </a:ext>
            </a:extLst>
          </p:cNvPr>
          <p:cNvSpPr>
            <a:spLocks noGrp="1"/>
          </p:cNvSpPr>
          <p:nvPr>
            <p:ph type="body" sz="quarter" idx="23" hasCustomPrompt="1"/>
          </p:nvPr>
        </p:nvSpPr>
        <p:spPr>
          <a:xfrm>
            <a:off x="2532063" y="3520210"/>
            <a:ext cx="5421056" cy="289109"/>
          </a:xfrm>
        </p:spPr>
        <p:txBody>
          <a:bodyPr wrap="square" anchor="ctr" anchorCtr="0">
            <a:spAutoFit/>
          </a:bodyPr>
          <a:lstStyle>
            <a:lvl1pPr marL="0" indent="-144000">
              <a:buClr>
                <a:schemeClr val="accent2"/>
              </a:buClr>
              <a:buSzPct val="100000"/>
              <a:buFont typeface="Arial" panose="020B0604020202020204" pitchFamily="34" charset="0"/>
              <a:buChar char="•"/>
              <a:defRPr sz="1400">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piscing</a:t>
            </a:r>
            <a:r>
              <a:rPr lang="en-GB"/>
              <a:t> </a:t>
            </a:r>
          </a:p>
        </p:txBody>
      </p:sp>
      <p:sp>
        <p:nvSpPr>
          <p:cNvPr id="84" name="Text Placeholder 8">
            <a:extLst>
              <a:ext uri="{FF2B5EF4-FFF2-40B4-BE49-F238E27FC236}">
                <a16:creationId xmlns:a16="http://schemas.microsoft.com/office/drawing/2014/main" id="{1AFD8B35-8A9A-4A95-A259-547E2D8F5419}"/>
              </a:ext>
            </a:extLst>
          </p:cNvPr>
          <p:cNvSpPr>
            <a:spLocks noGrp="1"/>
          </p:cNvSpPr>
          <p:nvPr>
            <p:ph type="body" sz="quarter" idx="24" hasCustomPrompt="1"/>
          </p:nvPr>
        </p:nvSpPr>
        <p:spPr>
          <a:xfrm>
            <a:off x="838199" y="3832941"/>
            <a:ext cx="1693864" cy="289109"/>
          </a:xfrm>
        </p:spPr>
        <p:txBody>
          <a:bodyPr wrap="square" anchor="ctr" anchorCtr="0">
            <a:normAutofit/>
          </a:bodyPr>
          <a:lstStyle>
            <a:lvl1pPr marL="0" indent="0">
              <a:buNone/>
              <a:defRPr sz="1400" b="1">
                <a:solidFill>
                  <a:schemeClr val="tx2"/>
                </a:solidFill>
              </a:defRPr>
            </a:lvl1pPr>
          </a:lstStyle>
          <a:p>
            <a:pPr lvl="0"/>
            <a:r>
              <a:rPr lang="en-GB"/>
              <a:t>Summary 6</a:t>
            </a:r>
          </a:p>
        </p:txBody>
      </p:sp>
      <p:sp>
        <p:nvSpPr>
          <p:cNvPr id="85" name="Text Placeholder 8">
            <a:extLst>
              <a:ext uri="{FF2B5EF4-FFF2-40B4-BE49-F238E27FC236}">
                <a16:creationId xmlns:a16="http://schemas.microsoft.com/office/drawing/2014/main" id="{28E8462B-F1B4-4A0D-8D47-E9272B62A8AD}"/>
              </a:ext>
            </a:extLst>
          </p:cNvPr>
          <p:cNvSpPr>
            <a:spLocks noGrp="1"/>
          </p:cNvSpPr>
          <p:nvPr>
            <p:ph type="body" sz="quarter" idx="25" hasCustomPrompt="1"/>
          </p:nvPr>
        </p:nvSpPr>
        <p:spPr>
          <a:xfrm>
            <a:off x="2532063" y="3832941"/>
            <a:ext cx="5421056" cy="289109"/>
          </a:xfrm>
        </p:spPr>
        <p:txBody>
          <a:bodyPr wrap="square" anchor="ctr" anchorCtr="0">
            <a:spAutoFit/>
          </a:bodyPr>
          <a:lstStyle>
            <a:lvl1pPr marL="0" indent="-144000">
              <a:buClr>
                <a:schemeClr val="accent2"/>
              </a:buClr>
              <a:buSzPct val="100000"/>
              <a:buFont typeface="Arial" panose="020B0604020202020204" pitchFamily="34" charset="0"/>
              <a:buChar char="•"/>
              <a:defRPr sz="1400">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piscing</a:t>
            </a:r>
            <a:r>
              <a:rPr lang="en-GB"/>
              <a:t> </a:t>
            </a:r>
          </a:p>
        </p:txBody>
      </p:sp>
      <p:sp>
        <p:nvSpPr>
          <p:cNvPr id="86" name="Text Placeholder 8">
            <a:extLst>
              <a:ext uri="{FF2B5EF4-FFF2-40B4-BE49-F238E27FC236}">
                <a16:creationId xmlns:a16="http://schemas.microsoft.com/office/drawing/2014/main" id="{4A6A1D9F-C52F-4A9C-A5AF-2AE58EFFE2B2}"/>
              </a:ext>
            </a:extLst>
          </p:cNvPr>
          <p:cNvSpPr>
            <a:spLocks noGrp="1"/>
          </p:cNvSpPr>
          <p:nvPr>
            <p:ph type="body" sz="quarter" idx="26" hasCustomPrompt="1"/>
          </p:nvPr>
        </p:nvSpPr>
        <p:spPr>
          <a:xfrm>
            <a:off x="838199" y="4145673"/>
            <a:ext cx="1693864" cy="289109"/>
          </a:xfrm>
        </p:spPr>
        <p:txBody>
          <a:bodyPr wrap="square" anchor="ctr" anchorCtr="0">
            <a:normAutofit/>
          </a:bodyPr>
          <a:lstStyle>
            <a:lvl1pPr marL="0" indent="0">
              <a:buNone/>
              <a:defRPr sz="1400" b="1">
                <a:solidFill>
                  <a:schemeClr val="tx2"/>
                </a:solidFill>
              </a:defRPr>
            </a:lvl1pPr>
          </a:lstStyle>
          <a:p>
            <a:pPr lvl="0"/>
            <a:r>
              <a:rPr lang="en-GB"/>
              <a:t>Summary 7</a:t>
            </a:r>
          </a:p>
        </p:txBody>
      </p:sp>
      <p:sp>
        <p:nvSpPr>
          <p:cNvPr id="87" name="Text Placeholder 8">
            <a:extLst>
              <a:ext uri="{FF2B5EF4-FFF2-40B4-BE49-F238E27FC236}">
                <a16:creationId xmlns:a16="http://schemas.microsoft.com/office/drawing/2014/main" id="{8ECD84F6-82BF-41CF-91F1-60E7F0D1C43F}"/>
              </a:ext>
            </a:extLst>
          </p:cNvPr>
          <p:cNvSpPr>
            <a:spLocks noGrp="1"/>
          </p:cNvSpPr>
          <p:nvPr>
            <p:ph type="body" sz="quarter" idx="27" hasCustomPrompt="1"/>
          </p:nvPr>
        </p:nvSpPr>
        <p:spPr>
          <a:xfrm>
            <a:off x="2532063" y="4145673"/>
            <a:ext cx="5421056" cy="289109"/>
          </a:xfrm>
        </p:spPr>
        <p:txBody>
          <a:bodyPr wrap="square" anchor="ctr" anchorCtr="0">
            <a:spAutoFit/>
          </a:bodyPr>
          <a:lstStyle>
            <a:lvl1pPr marL="0" indent="-144000">
              <a:buClr>
                <a:schemeClr val="accent2"/>
              </a:buClr>
              <a:buSzPct val="100000"/>
              <a:buFont typeface="Arial" panose="020B0604020202020204" pitchFamily="34" charset="0"/>
              <a:buChar char="•"/>
              <a:defRPr sz="1400">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piscing</a:t>
            </a:r>
            <a:r>
              <a:rPr lang="en-GB"/>
              <a:t> </a:t>
            </a:r>
          </a:p>
        </p:txBody>
      </p:sp>
      <p:sp>
        <p:nvSpPr>
          <p:cNvPr id="19" name="Text Placeholder 6">
            <a:extLst>
              <a:ext uri="{FF2B5EF4-FFF2-40B4-BE49-F238E27FC236}">
                <a16:creationId xmlns:a16="http://schemas.microsoft.com/office/drawing/2014/main" id="{A1C6E8DB-80C3-4943-B903-93D2487A58F9}"/>
              </a:ext>
            </a:extLst>
          </p:cNvPr>
          <p:cNvSpPr>
            <a:spLocks noGrp="1"/>
          </p:cNvSpPr>
          <p:nvPr>
            <p:ph type="body" sz="quarter" idx="29" hasCustomPrompt="1"/>
          </p:nvPr>
        </p:nvSpPr>
        <p:spPr>
          <a:xfrm>
            <a:off x="828386" y="1012817"/>
            <a:ext cx="1814920" cy="263149"/>
          </a:xfrm>
          <a:ln>
            <a:solidFill>
              <a:schemeClr val="bg1">
                <a:alpha val="0"/>
              </a:schemeClr>
            </a:solidFill>
          </a:ln>
        </p:spPr>
        <p:txBody>
          <a:bodyPr wrap="none">
            <a:spAutoFit/>
          </a:bodyPr>
          <a:lstStyle>
            <a:lvl1pPr marL="0" indent="-216000">
              <a:buSzPct val="120000"/>
              <a:buFont typeface="Calibri" panose="020F0502020204030204" pitchFamily="34" charset="0"/>
              <a:buChar char="●"/>
              <a:defRPr sz="1200"/>
            </a:lvl1pPr>
          </a:lstStyle>
          <a:p>
            <a:pPr lvl="0"/>
            <a:r>
              <a:rPr lang="en-US"/>
              <a:t>Kicker Placeholder</a:t>
            </a:r>
          </a:p>
        </p:txBody>
      </p:sp>
    </p:spTree>
    <p:extLst>
      <p:ext uri="{BB962C8B-B14F-4D97-AF65-F5344CB8AC3E}">
        <p14:creationId xmlns:p14="http://schemas.microsoft.com/office/powerpoint/2010/main" val="2949737307"/>
      </p:ext>
    </p:extLst>
  </p:cSld>
  <p:clrMapOvr>
    <a:masterClrMapping/>
  </p:clrMapOvr>
  <p:extLst>
    <p:ext uri="{DCECCB84-F9BA-43D5-87BE-67443E8EF086}">
      <p15:sldGuideLst xmlns:p15="http://schemas.microsoft.com/office/powerpoint/2012/main">
        <p15:guide id="1" orient="horz" pos="1434">
          <p15:clr>
            <a:srgbClr val="FBAE40"/>
          </p15:clr>
        </p15:guide>
        <p15:guide id="2" orient="horz" pos="799">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2 Charts side by s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912E86-6E38-4F10-8E64-15B667979BB3}"/>
              </a:ext>
            </a:extLst>
          </p:cNvPr>
          <p:cNvGraphicFramePr>
            <a:graphicFrameLocks noChangeAspect="1"/>
          </p:cNvGraphicFramePr>
          <p:nvPr userDrawn="1">
            <p:custDataLst>
              <p:tags r:id="rId2"/>
            </p:custDataLst>
            <p:extLst>
              <p:ext uri="{D42A27DB-BD31-4B8C-83A1-F6EECF244321}">
                <p14:modId xmlns:p14="http://schemas.microsoft.com/office/powerpoint/2010/main" val="1941194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EE912E86-6E38-4F10-8E64-15B667979B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Text Placeholder 26">
            <a:extLst>
              <a:ext uri="{FF2B5EF4-FFF2-40B4-BE49-F238E27FC236}">
                <a16:creationId xmlns:a16="http://schemas.microsoft.com/office/drawing/2014/main" id="{4B2B1EA5-B2A0-45BD-BC01-08E30C9CE170}"/>
              </a:ext>
            </a:extLst>
          </p:cNvPr>
          <p:cNvSpPr>
            <a:spLocks noGrp="1"/>
          </p:cNvSpPr>
          <p:nvPr>
            <p:ph type="body" sz="quarter" idx="18"/>
          </p:nvPr>
        </p:nvSpPr>
        <p:spPr>
          <a:xfrm>
            <a:off x="688975" y="1722945"/>
            <a:ext cx="2101850" cy="522288"/>
          </a:xfrm>
          <a:prstGeom prst="roundRect">
            <a:avLst>
              <a:gd name="adj" fmla="val 50000"/>
            </a:avLst>
          </a:prstGeom>
          <a:solidFill>
            <a:schemeClr val="accent1"/>
          </a:solidFill>
        </p:spPr>
        <p:txBody>
          <a:bodyPr/>
          <a:lstStyle>
            <a:lvl1pPr marL="0" indent="0" algn="ctr">
              <a:buNone/>
              <a:defRPr sz="1800" b="1">
                <a:solidFill>
                  <a:schemeClr val="bg1"/>
                </a:solidFill>
              </a:defRPr>
            </a:lvl1pPr>
            <a:lvl2pPr marL="228600" indent="0">
              <a:buNone/>
              <a:defRPr/>
            </a:lvl2pPr>
            <a:lvl3pPr marL="457200" indent="0">
              <a:buNone/>
              <a:defRPr/>
            </a:lvl3pPr>
            <a:lvl4pPr marL="685800" indent="0">
              <a:buNone/>
              <a:defRPr/>
            </a:lvl4pPr>
            <a:lvl5pPr marL="914400" indent="0">
              <a:buNone/>
              <a:defRPr/>
            </a:lvl5pPr>
          </a:lstStyle>
          <a:p>
            <a:pPr lvl="0"/>
            <a:endParaRPr lang="en-IN"/>
          </a:p>
        </p:txBody>
      </p:sp>
      <p:sp>
        <p:nvSpPr>
          <p:cNvPr id="28" name="Text Placeholder 26">
            <a:extLst>
              <a:ext uri="{FF2B5EF4-FFF2-40B4-BE49-F238E27FC236}">
                <a16:creationId xmlns:a16="http://schemas.microsoft.com/office/drawing/2014/main" id="{0B68F7A0-D9DA-4140-82DC-0696BFFA6073}"/>
              </a:ext>
            </a:extLst>
          </p:cNvPr>
          <p:cNvSpPr>
            <a:spLocks noGrp="1"/>
          </p:cNvSpPr>
          <p:nvPr>
            <p:ph type="body" sz="quarter" idx="19"/>
          </p:nvPr>
        </p:nvSpPr>
        <p:spPr>
          <a:xfrm>
            <a:off x="688975" y="2969322"/>
            <a:ext cx="2101850" cy="522288"/>
          </a:xfrm>
          <a:prstGeom prst="roundRect">
            <a:avLst>
              <a:gd name="adj" fmla="val 50000"/>
            </a:avLst>
          </a:prstGeom>
          <a:solidFill>
            <a:schemeClr val="accent2"/>
          </a:solidFill>
        </p:spPr>
        <p:txBody>
          <a:bodyPr/>
          <a:lstStyle>
            <a:lvl1pPr marL="0" indent="0" algn="ctr">
              <a:buNone/>
              <a:defRPr sz="1800" b="1">
                <a:solidFill>
                  <a:schemeClr val="bg1"/>
                </a:solidFill>
              </a:defRPr>
            </a:lvl1pPr>
            <a:lvl2pPr marL="228600" indent="0">
              <a:buNone/>
              <a:defRPr/>
            </a:lvl2pPr>
            <a:lvl3pPr marL="457200" indent="0">
              <a:buNone/>
              <a:defRPr/>
            </a:lvl3pPr>
            <a:lvl4pPr marL="685800" indent="0">
              <a:buNone/>
              <a:defRPr/>
            </a:lvl4pPr>
            <a:lvl5pPr marL="914400" indent="0">
              <a:buNone/>
              <a:defRPr/>
            </a:lvl5pPr>
          </a:lstStyle>
          <a:p>
            <a:pPr lvl="0"/>
            <a:endParaRPr lang="en-IN"/>
          </a:p>
        </p:txBody>
      </p:sp>
      <p:sp>
        <p:nvSpPr>
          <p:cNvPr id="29" name="Text Placeholder 26">
            <a:extLst>
              <a:ext uri="{FF2B5EF4-FFF2-40B4-BE49-F238E27FC236}">
                <a16:creationId xmlns:a16="http://schemas.microsoft.com/office/drawing/2014/main" id="{11266552-5DAB-4785-804B-1A39FDB9C38C}"/>
              </a:ext>
            </a:extLst>
          </p:cNvPr>
          <p:cNvSpPr>
            <a:spLocks noGrp="1"/>
          </p:cNvSpPr>
          <p:nvPr>
            <p:ph type="body" sz="quarter" idx="20"/>
          </p:nvPr>
        </p:nvSpPr>
        <p:spPr>
          <a:xfrm>
            <a:off x="688975" y="4215699"/>
            <a:ext cx="2101850" cy="522288"/>
          </a:xfrm>
          <a:prstGeom prst="roundRect">
            <a:avLst>
              <a:gd name="adj" fmla="val 50000"/>
            </a:avLst>
          </a:prstGeom>
          <a:solidFill>
            <a:schemeClr val="accent3"/>
          </a:solidFill>
        </p:spPr>
        <p:txBody>
          <a:bodyPr/>
          <a:lstStyle>
            <a:lvl1pPr marL="0" indent="0" algn="ctr">
              <a:buNone/>
              <a:defRPr sz="1800" b="1">
                <a:solidFill>
                  <a:schemeClr val="bg1"/>
                </a:solidFill>
              </a:defRPr>
            </a:lvl1pPr>
            <a:lvl2pPr marL="228600" indent="0">
              <a:buNone/>
              <a:defRPr/>
            </a:lvl2pPr>
            <a:lvl3pPr marL="457200" indent="0">
              <a:buNone/>
              <a:defRPr/>
            </a:lvl3pPr>
            <a:lvl4pPr marL="685800" indent="0">
              <a:buNone/>
              <a:defRPr/>
            </a:lvl4pPr>
            <a:lvl5pPr marL="914400" indent="0">
              <a:buNone/>
              <a:defRPr/>
            </a:lvl5pPr>
          </a:lstStyle>
          <a:p>
            <a:pPr lvl="0"/>
            <a:endParaRPr lang="en-IN"/>
          </a:p>
        </p:txBody>
      </p:sp>
      <p:sp>
        <p:nvSpPr>
          <p:cNvPr id="30" name="Text Placeholder 26">
            <a:extLst>
              <a:ext uri="{FF2B5EF4-FFF2-40B4-BE49-F238E27FC236}">
                <a16:creationId xmlns:a16="http://schemas.microsoft.com/office/drawing/2014/main" id="{587D51B0-14E8-4C75-B7B4-5BE0A8C9544C}"/>
              </a:ext>
            </a:extLst>
          </p:cNvPr>
          <p:cNvSpPr>
            <a:spLocks noGrp="1"/>
          </p:cNvSpPr>
          <p:nvPr>
            <p:ph type="body" sz="quarter" idx="21"/>
          </p:nvPr>
        </p:nvSpPr>
        <p:spPr>
          <a:xfrm>
            <a:off x="689746" y="5524866"/>
            <a:ext cx="2101850" cy="522288"/>
          </a:xfrm>
          <a:prstGeom prst="roundRect">
            <a:avLst>
              <a:gd name="adj" fmla="val 50000"/>
            </a:avLst>
          </a:prstGeom>
          <a:solidFill>
            <a:srgbClr val="C7C1D2"/>
          </a:solidFill>
        </p:spPr>
        <p:txBody>
          <a:bodyPr/>
          <a:lstStyle>
            <a:lvl1pPr marL="0" indent="0" algn="ctr">
              <a:buNone/>
              <a:defRPr sz="1800" b="1">
                <a:solidFill>
                  <a:schemeClr val="tx1"/>
                </a:solidFill>
              </a:defRPr>
            </a:lvl1pPr>
            <a:lvl2pPr marL="228600" indent="0">
              <a:buNone/>
              <a:defRPr/>
            </a:lvl2pPr>
            <a:lvl3pPr marL="457200" indent="0">
              <a:buNone/>
              <a:defRPr/>
            </a:lvl3pPr>
            <a:lvl4pPr marL="685800" indent="0">
              <a:buNone/>
              <a:defRPr/>
            </a:lvl4pPr>
            <a:lvl5pPr marL="914400" indent="0">
              <a:buNone/>
              <a:defRPr/>
            </a:lvl5pPr>
          </a:lstStyle>
          <a:p>
            <a:pPr lvl="0"/>
            <a:endParaRPr lang="en-IN"/>
          </a:p>
        </p:txBody>
      </p:sp>
      <p:sp>
        <p:nvSpPr>
          <p:cNvPr id="2" name="Title 1">
            <a:extLst>
              <a:ext uri="{FF2B5EF4-FFF2-40B4-BE49-F238E27FC236}">
                <a16:creationId xmlns:a16="http://schemas.microsoft.com/office/drawing/2014/main" id="{1C36959F-2346-401A-BA9A-ED98F6034A4D}"/>
              </a:ext>
            </a:extLst>
          </p:cNvPr>
          <p:cNvSpPr>
            <a:spLocks noGrp="1"/>
          </p:cNvSpPr>
          <p:nvPr>
            <p:ph type="title" hasCustomPrompt="1"/>
          </p:nvPr>
        </p:nvSpPr>
        <p:spPr>
          <a:xfrm>
            <a:off x="587375" y="393192"/>
            <a:ext cx="10980738" cy="548640"/>
          </a:xfrm>
        </p:spPr>
        <p:txBody>
          <a:bodyPr vert="horz" anchor="ctr"/>
          <a:lstStyle>
            <a:lvl1pPr>
              <a:defRPr>
                <a:solidFill>
                  <a:schemeClr val="accent1"/>
                </a:solidFill>
              </a:defRPr>
            </a:lvl1pPr>
          </a:lstStyle>
          <a:p>
            <a:r>
              <a:rPr lang="en-US"/>
              <a:t>H1 placeholder.</a:t>
            </a:r>
            <a:endParaRPr lang="en-GB"/>
          </a:p>
        </p:txBody>
      </p:sp>
      <p:cxnSp>
        <p:nvCxnSpPr>
          <p:cNvPr id="16" name="Straight Connector 15">
            <a:extLst>
              <a:ext uri="{FF2B5EF4-FFF2-40B4-BE49-F238E27FC236}">
                <a16:creationId xmlns:a16="http://schemas.microsoft.com/office/drawing/2014/main" id="{43F170B6-B41B-4ACB-BA3A-5526027F94A1}"/>
              </a:ext>
            </a:extLst>
          </p:cNvPr>
          <p:cNvCxnSpPr>
            <a:cxnSpLocks/>
          </p:cNvCxnSpPr>
          <p:nvPr userDrawn="1"/>
        </p:nvCxnSpPr>
        <p:spPr>
          <a:xfrm>
            <a:off x="3082564" y="1941922"/>
            <a:ext cx="0" cy="392334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019715C5-8BE8-40C1-AB5F-40E253887BC0}"/>
              </a:ext>
            </a:extLst>
          </p:cNvPr>
          <p:cNvSpPr/>
          <p:nvPr userDrawn="1"/>
        </p:nvSpPr>
        <p:spPr>
          <a:xfrm>
            <a:off x="3026003" y="1920520"/>
            <a:ext cx="113122" cy="11312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Oval 17">
            <a:extLst>
              <a:ext uri="{FF2B5EF4-FFF2-40B4-BE49-F238E27FC236}">
                <a16:creationId xmlns:a16="http://schemas.microsoft.com/office/drawing/2014/main" id="{D4274053-CC8D-49CD-9A12-8A1C463CE4F9}"/>
              </a:ext>
            </a:extLst>
          </p:cNvPr>
          <p:cNvSpPr/>
          <p:nvPr userDrawn="1"/>
        </p:nvSpPr>
        <p:spPr>
          <a:xfrm>
            <a:off x="3026003" y="3197728"/>
            <a:ext cx="113122" cy="11312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9" name="Oval 18">
            <a:extLst>
              <a:ext uri="{FF2B5EF4-FFF2-40B4-BE49-F238E27FC236}">
                <a16:creationId xmlns:a16="http://schemas.microsoft.com/office/drawing/2014/main" id="{C2FD2823-8194-4280-895E-8C82CDC94E0E}"/>
              </a:ext>
            </a:extLst>
          </p:cNvPr>
          <p:cNvSpPr/>
          <p:nvPr userDrawn="1"/>
        </p:nvSpPr>
        <p:spPr>
          <a:xfrm>
            <a:off x="3026003" y="4486404"/>
            <a:ext cx="113122" cy="11312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Oval 19">
            <a:extLst>
              <a:ext uri="{FF2B5EF4-FFF2-40B4-BE49-F238E27FC236}">
                <a16:creationId xmlns:a16="http://schemas.microsoft.com/office/drawing/2014/main" id="{08334E1E-CE67-4576-AA2E-C595372775D7}"/>
              </a:ext>
            </a:extLst>
          </p:cNvPr>
          <p:cNvSpPr/>
          <p:nvPr userDrawn="1"/>
        </p:nvSpPr>
        <p:spPr>
          <a:xfrm>
            <a:off x="3026003" y="5752144"/>
            <a:ext cx="113122" cy="11312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Text Placeholder 21">
            <a:extLst>
              <a:ext uri="{FF2B5EF4-FFF2-40B4-BE49-F238E27FC236}">
                <a16:creationId xmlns:a16="http://schemas.microsoft.com/office/drawing/2014/main" id="{C91E3AA4-07BD-4ED8-B14D-F2ADDE20D317}"/>
              </a:ext>
            </a:extLst>
          </p:cNvPr>
          <p:cNvSpPr>
            <a:spLocks noGrp="1"/>
          </p:cNvSpPr>
          <p:nvPr>
            <p:ph type="body" sz="quarter" idx="14" hasCustomPrompt="1"/>
          </p:nvPr>
        </p:nvSpPr>
        <p:spPr>
          <a:xfrm>
            <a:off x="3406775" y="1533525"/>
            <a:ext cx="8161338" cy="796251"/>
          </a:xfrm>
        </p:spPr>
        <p:txBody>
          <a:bodyPr/>
          <a:lstStyle>
            <a:lvl1pPr marL="0" indent="0">
              <a:buNone/>
              <a:defRPr b="1"/>
            </a:lvl1pPr>
          </a:lstStyle>
          <a:p>
            <a:pPr lvl="0"/>
            <a:r>
              <a:rPr lang="en-US"/>
              <a:t>Placeholder Text</a:t>
            </a:r>
            <a:endParaRPr lang="en-IN"/>
          </a:p>
        </p:txBody>
      </p:sp>
      <p:sp>
        <p:nvSpPr>
          <p:cNvPr id="23" name="Text Placeholder 21">
            <a:extLst>
              <a:ext uri="{FF2B5EF4-FFF2-40B4-BE49-F238E27FC236}">
                <a16:creationId xmlns:a16="http://schemas.microsoft.com/office/drawing/2014/main" id="{4EAC65DE-3EB5-472A-84F6-59CA682386F0}"/>
              </a:ext>
            </a:extLst>
          </p:cNvPr>
          <p:cNvSpPr>
            <a:spLocks noGrp="1"/>
          </p:cNvSpPr>
          <p:nvPr>
            <p:ph type="body" sz="quarter" idx="15" hasCustomPrompt="1"/>
          </p:nvPr>
        </p:nvSpPr>
        <p:spPr>
          <a:xfrm>
            <a:off x="3406775" y="2841372"/>
            <a:ext cx="8161338" cy="796251"/>
          </a:xfrm>
        </p:spPr>
        <p:txBody>
          <a:bodyPr/>
          <a:lstStyle>
            <a:lvl1pPr marL="0" indent="0">
              <a:buNone/>
              <a:defRPr b="1"/>
            </a:lvl1pPr>
          </a:lstStyle>
          <a:p>
            <a:pPr lvl="0"/>
            <a:r>
              <a:rPr lang="en-US"/>
              <a:t>Placeholder Text</a:t>
            </a:r>
            <a:endParaRPr lang="en-IN"/>
          </a:p>
        </p:txBody>
      </p:sp>
      <p:sp>
        <p:nvSpPr>
          <p:cNvPr id="24" name="Text Placeholder 21">
            <a:extLst>
              <a:ext uri="{FF2B5EF4-FFF2-40B4-BE49-F238E27FC236}">
                <a16:creationId xmlns:a16="http://schemas.microsoft.com/office/drawing/2014/main" id="{BF602AD6-2745-4272-85F6-91B4B0A2859B}"/>
              </a:ext>
            </a:extLst>
          </p:cNvPr>
          <p:cNvSpPr>
            <a:spLocks noGrp="1"/>
          </p:cNvSpPr>
          <p:nvPr>
            <p:ph type="body" sz="quarter" idx="16" hasCustomPrompt="1"/>
          </p:nvPr>
        </p:nvSpPr>
        <p:spPr>
          <a:xfrm>
            <a:off x="3406775" y="4149219"/>
            <a:ext cx="8161338" cy="796251"/>
          </a:xfrm>
        </p:spPr>
        <p:txBody>
          <a:bodyPr/>
          <a:lstStyle>
            <a:lvl1pPr marL="0" indent="0">
              <a:buNone/>
              <a:defRPr b="1"/>
            </a:lvl1pPr>
          </a:lstStyle>
          <a:p>
            <a:pPr lvl="0"/>
            <a:r>
              <a:rPr lang="en-US"/>
              <a:t>Placeholder Text</a:t>
            </a:r>
            <a:endParaRPr lang="en-IN"/>
          </a:p>
        </p:txBody>
      </p:sp>
      <p:sp>
        <p:nvSpPr>
          <p:cNvPr id="25" name="Text Placeholder 21">
            <a:extLst>
              <a:ext uri="{FF2B5EF4-FFF2-40B4-BE49-F238E27FC236}">
                <a16:creationId xmlns:a16="http://schemas.microsoft.com/office/drawing/2014/main" id="{E163D74A-B4D5-4F05-A9BD-1A1ADA619D6F}"/>
              </a:ext>
            </a:extLst>
          </p:cNvPr>
          <p:cNvSpPr>
            <a:spLocks noGrp="1"/>
          </p:cNvSpPr>
          <p:nvPr>
            <p:ph type="body" sz="quarter" idx="17" hasCustomPrompt="1"/>
          </p:nvPr>
        </p:nvSpPr>
        <p:spPr>
          <a:xfrm>
            <a:off x="3406775" y="5457065"/>
            <a:ext cx="8161338" cy="796251"/>
          </a:xfrm>
        </p:spPr>
        <p:txBody>
          <a:bodyPr/>
          <a:lstStyle>
            <a:lvl1pPr marL="0" indent="0">
              <a:buNone/>
              <a:defRPr b="1"/>
            </a:lvl1pPr>
          </a:lstStyle>
          <a:p>
            <a:pPr lvl="0"/>
            <a:r>
              <a:rPr lang="en-US"/>
              <a:t>Placeholder Text</a:t>
            </a:r>
            <a:endParaRPr lang="en-IN"/>
          </a:p>
        </p:txBody>
      </p:sp>
    </p:spTree>
    <p:custDataLst>
      <p:tags r:id="rId1"/>
    </p:custDataLst>
    <p:extLst>
      <p:ext uri="{BB962C8B-B14F-4D97-AF65-F5344CB8AC3E}">
        <p14:creationId xmlns:p14="http://schemas.microsoft.com/office/powerpoint/2010/main" val="19800251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White with Imag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7542C0D-07A7-424E-A611-127E1CC091B8}"/>
              </a:ext>
            </a:extLst>
          </p:cNvPr>
          <p:cNvGraphicFramePr>
            <a:graphicFrameLocks noChangeAspect="1"/>
          </p:cNvGraphicFramePr>
          <p:nvPr userDrawn="1">
            <p:custDataLst>
              <p:tags r:id="rId2"/>
            </p:custDataLst>
            <p:extLst>
              <p:ext uri="{D42A27DB-BD31-4B8C-83A1-F6EECF244321}">
                <p14:modId xmlns:p14="http://schemas.microsoft.com/office/powerpoint/2010/main" val="3573435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6" name="Object 5" hidden="1">
                        <a:extLst>
                          <a:ext uri="{FF2B5EF4-FFF2-40B4-BE49-F238E27FC236}">
                            <a16:creationId xmlns:a16="http://schemas.microsoft.com/office/drawing/2014/main" id="{B7542C0D-07A7-424E-A611-127E1CC091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2" name="Group 21">
            <a:extLst>
              <a:ext uri="{FF2B5EF4-FFF2-40B4-BE49-F238E27FC236}">
                <a16:creationId xmlns:a16="http://schemas.microsoft.com/office/drawing/2014/main" id="{06D3E6A9-608F-4FEF-9318-50780452D43F}"/>
              </a:ext>
            </a:extLst>
          </p:cNvPr>
          <p:cNvGrpSpPr/>
          <p:nvPr userDrawn="1"/>
        </p:nvGrpSpPr>
        <p:grpSpPr>
          <a:xfrm>
            <a:off x="9848850" y="557074"/>
            <a:ext cx="1904999" cy="195571"/>
            <a:chOff x="9848850" y="557074"/>
            <a:chExt cx="1904999" cy="195571"/>
          </a:xfrm>
          <a:solidFill>
            <a:schemeClr val="tx1"/>
          </a:solidFill>
        </p:grpSpPr>
        <p:sp>
          <p:nvSpPr>
            <p:cNvPr id="4" name="Freeform: Shape 3">
              <a:extLst>
                <a:ext uri="{FF2B5EF4-FFF2-40B4-BE49-F238E27FC236}">
                  <a16:creationId xmlns:a16="http://schemas.microsoft.com/office/drawing/2014/main" id="{982B1A2E-3EC0-4B78-AB9A-10329041127E}"/>
                </a:ext>
              </a:extLst>
            </p:cNvPr>
            <p:cNvSpPr/>
            <p:nvPr/>
          </p:nvSpPr>
          <p:spPr>
            <a:xfrm>
              <a:off x="9848850" y="560843"/>
              <a:ext cx="122454" cy="188307"/>
            </a:xfrm>
            <a:custGeom>
              <a:avLst/>
              <a:gdLst>
                <a:gd name="connsiteX0" fmla="*/ 0 w 122454"/>
                <a:gd name="connsiteY0" fmla="*/ 0 h 188307"/>
                <a:gd name="connsiteX1" fmla="*/ 0 w 122454"/>
                <a:gd name="connsiteY1" fmla="*/ 188307 h 188307"/>
                <a:gd name="connsiteX2" fmla="*/ 122455 w 122454"/>
                <a:gd name="connsiteY2" fmla="*/ 188307 h 188307"/>
                <a:gd name="connsiteX3" fmla="*/ 122455 w 122454"/>
                <a:gd name="connsiteY3" fmla="*/ 157813 h 188307"/>
                <a:gd name="connsiteX4" fmla="*/ 33235 w 122454"/>
                <a:gd name="connsiteY4" fmla="*/ 157813 h 188307"/>
                <a:gd name="connsiteX5" fmla="*/ 33235 w 122454"/>
                <a:gd name="connsiteY5" fmla="*/ 112792 h 188307"/>
                <a:gd name="connsiteX6" fmla="*/ 114163 w 122454"/>
                <a:gd name="connsiteY6" fmla="*/ 112792 h 188307"/>
                <a:gd name="connsiteX7" fmla="*/ 114163 w 122454"/>
                <a:gd name="connsiteY7" fmla="*/ 83327 h 188307"/>
                <a:gd name="connsiteX8" fmla="*/ 33235 w 122454"/>
                <a:gd name="connsiteY8" fmla="*/ 83327 h 188307"/>
                <a:gd name="connsiteX9" fmla="*/ 33235 w 122454"/>
                <a:gd name="connsiteY9" fmla="*/ 30562 h 188307"/>
                <a:gd name="connsiteX10" fmla="*/ 122455 w 122454"/>
                <a:gd name="connsiteY10" fmla="*/ 30562 h 188307"/>
                <a:gd name="connsiteX11" fmla="*/ 122455 w 122454"/>
                <a:gd name="connsiteY11" fmla="*/ 0 h 188307"/>
                <a:gd name="connsiteX12" fmla="*/ 0 w 122454"/>
                <a:gd name="connsiteY12" fmla="*/ 0 h 18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07">
                  <a:moveTo>
                    <a:pt x="0" y="0"/>
                  </a:moveTo>
                  <a:lnTo>
                    <a:pt x="0" y="188307"/>
                  </a:lnTo>
                  <a:lnTo>
                    <a:pt x="122455" y="188307"/>
                  </a:lnTo>
                  <a:lnTo>
                    <a:pt x="122455" y="157813"/>
                  </a:lnTo>
                  <a:lnTo>
                    <a:pt x="33235" y="157813"/>
                  </a:lnTo>
                  <a:lnTo>
                    <a:pt x="33235" y="112792"/>
                  </a:lnTo>
                  <a:lnTo>
                    <a:pt x="114163" y="112792"/>
                  </a:lnTo>
                  <a:lnTo>
                    <a:pt x="114163" y="83327"/>
                  </a:lnTo>
                  <a:lnTo>
                    <a:pt x="33235" y="83327"/>
                  </a:lnTo>
                  <a:lnTo>
                    <a:pt x="33235" y="30562"/>
                  </a:lnTo>
                  <a:lnTo>
                    <a:pt x="122455" y="30562"/>
                  </a:lnTo>
                  <a:lnTo>
                    <a:pt x="122455" y="0"/>
                  </a:lnTo>
                  <a:lnTo>
                    <a:pt x="0" y="0"/>
                  </a:lnTo>
                  <a:close/>
                </a:path>
              </a:pathLst>
            </a:custGeom>
            <a:grpFill/>
            <a:ln w="6853"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CDEEB691-8710-4322-806E-E69F81A5E418}"/>
                </a:ext>
              </a:extLst>
            </p:cNvPr>
            <p:cNvSpPr/>
            <p:nvPr/>
          </p:nvSpPr>
          <p:spPr>
            <a:xfrm>
              <a:off x="9998097" y="560843"/>
              <a:ext cx="185908" cy="190705"/>
            </a:xfrm>
            <a:custGeom>
              <a:avLst/>
              <a:gdLst>
                <a:gd name="connsiteX0" fmla="*/ 151098 w 185908"/>
                <a:gd name="connsiteY0" fmla="*/ 0 h 190705"/>
                <a:gd name="connsiteX1" fmla="*/ 93263 w 185908"/>
                <a:gd name="connsiteY1" fmla="*/ 128622 h 190705"/>
                <a:gd name="connsiteX2" fmla="*/ 35633 w 185908"/>
                <a:gd name="connsiteY2" fmla="*/ 0 h 190705"/>
                <a:gd name="connsiteX3" fmla="*/ 0 w 185908"/>
                <a:gd name="connsiteY3" fmla="*/ 0 h 190705"/>
                <a:gd name="connsiteX4" fmla="*/ 87301 w 185908"/>
                <a:gd name="connsiteY4" fmla="*/ 190706 h 190705"/>
                <a:gd name="connsiteX5" fmla="*/ 98608 w 185908"/>
                <a:gd name="connsiteY5" fmla="*/ 190706 h 190705"/>
                <a:gd name="connsiteX6" fmla="*/ 185909 w 185908"/>
                <a:gd name="connsiteY6" fmla="*/ 0 h 190705"/>
                <a:gd name="connsiteX7" fmla="*/ 151098 w 185908"/>
                <a:gd name="connsiteY7" fmla="*/ 0 h 190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908" h="190705">
                  <a:moveTo>
                    <a:pt x="151098" y="0"/>
                  </a:moveTo>
                  <a:lnTo>
                    <a:pt x="93263" y="128622"/>
                  </a:lnTo>
                  <a:lnTo>
                    <a:pt x="35633" y="0"/>
                  </a:lnTo>
                  <a:lnTo>
                    <a:pt x="0" y="0"/>
                  </a:lnTo>
                  <a:lnTo>
                    <a:pt x="87301" y="190706"/>
                  </a:lnTo>
                  <a:lnTo>
                    <a:pt x="98608" y="190706"/>
                  </a:lnTo>
                  <a:lnTo>
                    <a:pt x="185909" y="0"/>
                  </a:lnTo>
                  <a:lnTo>
                    <a:pt x="151098" y="0"/>
                  </a:lnTo>
                  <a:close/>
                </a:path>
              </a:pathLst>
            </a:custGeom>
            <a:grpFill/>
            <a:ln w="6853"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290779BC-95C9-40DF-AA48-4CE05FA0B9EE}"/>
                </a:ext>
              </a:extLst>
            </p:cNvPr>
            <p:cNvSpPr/>
            <p:nvPr/>
          </p:nvSpPr>
          <p:spPr>
            <a:xfrm>
              <a:off x="10165231" y="559199"/>
              <a:ext cx="184606" cy="190020"/>
            </a:xfrm>
            <a:custGeom>
              <a:avLst/>
              <a:gdLst>
                <a:gd name="connsiteX0" fmla="*/ 90701 w 184606"/>
                <a:gd name="connsiteY0" fmla="*/ 60490 h 190020"/>
                <a:gd name="connsiteX1" fmla="*/ 119345 w 184606"/>
                <a:gd name="connsiteY1" fmla="*/ 125314 h 190020"/>
                <a:gd name="connsiteX2" fmla="*/ 61989 w 184606"/>
                <a:gd name="connsiteY2" fmla="*/ 125314 h 190020"/>
                <a:gd name="connsiteX3" fmla="*/ 87481 w 184606"/>
                <a:gd name="connsiteY3" fmla="*/ -635 h 190020"/>
                <a:gd name="connsiteX4" fmla="*/ -985 w 184606"/>
                <a:gd name="connsiteY4" fmla="*/ 189385 h 190020"/>
                <a:gd name="connsiteX5" fmla="*/ 33826 w 184606"/>
                <a:gd name="connsiteY5" fmla="*/ 189385 h 190020"/>
                <a:gd name="connsiteX6" fmla="*/ 50203 w 184606"/>
                <a:gd name="connsiteY6" fmla="*/ 151833 h 190020"/>
                <a:gd name="connsiteX7" fmla="*/ 131131 w 184606"/>
                <a:gd name="connsiteY7" fmla="*/ 151833 h 190020"/>
                <a:gd name="connsiteX8" fmla="*/ 147714 w 184606"/>
                <a:gd name="connsiteY8" fmla="*/ 189385 h 190020"/>
                <a:gd name="connsiteX9" fmla="*/ 183622 w 184606"/>
                <a:gd name="connsiteY9" fmla="*/ 189385 h 190020"/>
                <a:gd name="connsiteX10" fmla="*/ 95155 w 184606"/>
                <a:gd name="connsiteY10" fmla="*/ -635 h 19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4606" h="190020">
                  <a:moveTo>
                    <a:pt x="90701" y="60490"/>
                  </a:moveTo>
                  <a:lnTo>
                    <a:pt x="119345" y="125314"/>
                  </a:lnTo>
                  <a:lnTo>
                    <a:pt x="61989" y="125314"/>
                  </a:lnTo>
                  <a:close/>
                  <a:moveTo>
                    <a:pt x="87481" y="-635"/>
                  </a:moveTo>
                  <a:lnTo>
                    <a:pt x="-985" y="189385"/>
                  </a:lnTo>
                  <a:lnTo>
                    <a:pt x="33826" y="189385"/>
                  </a:lnTo>
                  <a:lnTo>
                    <a:pt x="50203" y="151833"/>
                  </a:lnTo>
                  <a:lnTo>
                    <a:pt x="131131" y="151833"/>
                  </a:lnTo>
                  <a:lnTo>
                    <a:pt x="147714" y="189385"/>
                  </a:lnTo>
                  <a:lnTo>
                    <a:pt x="183622" y="189385"/>
                  </a:lnTo>
                  <a:lnTo>
                    <a:pt x="95155" y="-635"/>
                  </a:lnTo>
                  <a:close/>
                </a:path>
              </a:pathLst>
            </a:custGeom>
            <a:grpFill/>
            <a:ln w="6853"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BA4860F-3F0D-4929-8566-E5959309DE7F}"/>
                </a:ext>
              </a:extLst>
            </p:cNvPr>
            <p:cNvSpPr/>
            <p:nvPr/>
          </p:nvSpPr>
          <p:spPr>
            <a:xfrm>
              <a:off x="10381222" y="560843"/>
              <a:ext cx="122385" cy="188307"/>
            </a:xfrm>
            <a:custGeom>
              <a:avLst/>
              <a:gdLst>
                <a:gd name="connsiteX0" fmla="*/ 0 w 122385"/>
                <a:gd name="connsiteY0" fmla="*/ 0 h 188307"/>
                <a:gd name="connsiteX1" fmla="*/ 0 w 122385"/>
                <a:gd name="connsiteY1" fmla="*/ 188307 h 188307"/>
                <a:gd name="connsiteX2" fmla="*/ 122386 w 122385"/>
                <a:gd name="connsiteY2" fmla="*/ 188307 h 188307"/>
                <a:gd name="connsiteX3" fmla="*/ 122386 w 122385"/>
                <a:gd name="connsiteY3" fmla="*/ 157813 h 188307"/>
                <a:gd name="connsiteX4" fmla="*/ 33166 w 122385"/>
                <a:gd name="connsiteY4" fmla="*/ 157813 h 188307"/>
                <a:gd name="connsiteX5" fmla="*/ 33166 w 122385"/>
                <a:gd name="connsiteY5" fmla="*/ 0 h 188307"/>
                <a:gd name="connsiteX6" fmla="*/ 0 w 122385"/>
                <a:gd name="connsiteY6" fmla="*/ 0 h 18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85" h="188307">
                  <a:moveTo>
                    <a:pt x="0" y="0"/>
                  </a:moveTo>
                  <a:lnTo>
                    <a:pt x="0" y="188307"/>
                  </a:lnTo>
                  <a:lnTo>
                    <a:pt x="122386" y="188307"/>
                  </a:lnTo>
                  <a:lnTo>
                    <a:pt x="122386" y="157813"/>
                  </a:lnTo>
                  <a:lnTo>
                    <a:pt x="33166" y="157813"/>
                  </a:lnTo>
                  <a:lnTo>
                    <a:pt x="33166" y="0"/>
                  </a:lnTo>
                  <a:lnTo>
                    <a:pt x="0" y="0"/>
                  </a:lnTo>
                  <a:close/>
                </a:path>
              </a:pathLst>
            </a:custGeom>
            <a:grpFill/>
            <a:ln w="6853"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B12E63F6-4AED-4FCC-B839-0821E5C1D558}"/>
                </a:ext>
              </a:extLst>
            </p:cNvPr>
            <p:cNvSpPr/>
            <p:nvPr/>
          </p:nvSpPr>
          <p:spPr>
            <a:xfrm>
              <a:off x="10530744" y="560844"/>
              <a:ext cx="157059" cy="191801"/>
            </a:xfrm>
            <a:custGeom>
              <a:avLst/>
              <a:gdLst>
                <a:gd name="connsiteX0" fmla="*/ -985 w 157059"/>
                <a:gd name="connsiteY0" fmla="*/ -635 h 191801"/>
                <a:gd name="connsiteX1" fmla="*/ 32250 w 157059"/>
                <a:gd name="connsiteY1" fmla="*/ -635 h 191801"/>
                <a:gd name="connsiteX2" fmla="*/ 32250 w 157059"/>
                <a:gd name="connsiteY2" fmla="*/ 109759 h 191801"/>
                <a:gd name="connsiteX3" fmla="*/ 76997 w 157059"/>
                <a:gd name="connsiteY3" fmla="*/ 160673 h 191801"/>
                <a:gd name="connsiteX4" fmla="*/ 122840 w 157059"/>
                <a:gd name="connsiteY4" fmla="*/ 109484 h 191801"/>
                <a:gd name="connsiteX5" fmla="*/ 122840 w 157059"/>
                <a:gd name="connsiteY5" fmla="*/ -635 h 191801"/>
                <a:gd name="connsiteX6" fmla="*/ 156074 w 157059"/>
                <a:gd name="connsiteY6" fmla="*/ -635 h 191801"/>
                <a:gd name="connsiteX7" fmla="*/ 156074 w 157059"/>
                <a:gd name="connsiteY7" fmla="*/ 109759 h 191801"/>
                <a:gd name="connsiteX8" fmla="*/ 76997 w 157059"/>
                <a:gd name="connsiteY8" fmla="*/ 191167 h 191801"/>
                <a:gd name="connsiteX9" fmla="*/ -985 w 157059"/>
                <a:gd name="connsiteY9" fmla="*/ 109759 h 19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059" h="191801">
                  <a:moveTo>
                    <a:pt x="-985" y="-635"/>
                  </a:moveTo>
                  <a:lnTo>
                    <a:pt x="32250" y="-635"/>
                  </a:lnTo>
                  <a:lnTo>
                    <a:pt x="32250" y="109759"/>
                  </a:lnTo>
                  <a:cubicBezTo>
                    <a:pt x="32250" y="145666"/>
                    <a:pt x="48627" y="160673"/>
                    <a:pt x="76997" y="160673"/>
                  </a:cubicBezTo>
                  <a:cubicBezTo>
                    <a:pt x="105366" y="160673"/>
                    <a:pt x="122840" y="145666"/>
                    <a:pt x="122840" y="109484"/>
                  </a:cubicBezTo>
                  <a:lnTo>
                    <a:pt x="122840" y="-635"/>
                  </a:lnTo>
                  <a:lnTo>
                    <a:pt x="156074" y="-635"/>
                  </a:lnTo>
                  <a:lnTo>
                    <a:pt x="156074" y="109759"/>
                  </a:lnTo>
                  <a:cubicBezTo>
                    <a:pt x="156074" y="166018"/>
                    <a:pt x="124142" y="191167"/>
                    <a:pt x="76997" y="191167"/>
                  </a:cubicBezTo>
                  <a:cubicBezTo>
                    <a:pt x="29851" y="191167"/>
                    <a:pt x="-985" y="166018"/>
                    <a:pt x="-985" y="109759"/>
                  </a:cubicBezTo>
                  <a:close/>
                </a:path>
              </a:pathLst>
            </a:custGeom>
            <a:grpFill/>
            <a:ln w="6853"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89E35D2B-5F84-4B67-AC50-4C6225985947}"/>
                </a:ext>
              </a:extLst>
            </p:cNvPr>
            <p:cNvSpPr/>
            <p:nvPr/>
          </p:nvSpPr>
          <p:spPr>
            <a:xfrm>
              <a:off x="10738717" y="560432"/>
              <a:ext cx="122454" cy="188375"/>
            </a:xfrm>
            <a:custGeom>
              <a:avLst/>
              <a:gdLst>
                <a:gd name="connsiteX0" fmla="*/ 0 w 122454"/>
                <a:gd name="connsiteY0" fmla="*/ 0 h 188375"/>
                <a:gd name="connsiteX1" fmla="*/ 0 w 122454"/>
                <a:gd name="connsiteY1" fmla="*/ 188376 h 188375"/>
                <a:gd name="connsiteX2" fmla="*/ 122454 w 122454"/>
                <a:gd name="connsiteY2" fmla="*/ 188376 h 188375"/>
                <a:gd name="connsiteX3" fmla="*/ 122454 w 122454"/>
                <a:gd name="connsiteY3" fmla="*/ 157813 h 188375"/>
                <a:gd name="connsiteX4" fmla="*/ 33235 w 122454"/>
                <a:gd name="connsiteY4" fmla="*/ 157813 h 188375"/>
                <a:gd name="connsiteX5" fmla="*/ 33235 w 122454"/>
                <a:gd name="connsiteY5" fmla="*/ 112792 h 188375"/>
                <a:gd name="connsiteX6" fmla="*/ 114094 w 122454"/>
                <a:gd name="connsiteY6" fmla="*/ 112792 h 188375"/>
                <a:gd name="connsiteX7" fmla="*/ 114094 w 122454"/>
                <a:gd name="connsiteY7" fmla="*/ 83327 h 188375"/>
                <a:gd name="connsiteX8" fmla="*/ 33235 w 122454"/>
                <a:gd name="connsiteY8" fmla="*/ 83327 h 188375"/>
                <a:gd name="connsiteX9" fmla="*/ 33235 w 122454"/>
                <a:gd name="connsiteY9" fmla="*/ 30562 h 188375"/>
                <a:gd name="connsiteX10" fmla="*/ 122454 w 122454"/>
                <a:gd name="connsiteY10" fmla="*/ 30562 h 188375"/>
                <a:gd name="connsiteX11" fmla="*/ 122454 w 122454"/>
                <a:gd name="connsiteY11" fmla="*/ 0 h 188375"/>
                <a:gd name="connsiteX12" fmla="*/ 0 w 122454"/>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75">
                  <a:moveTo>
                    <a:pt x="0" y="0"/>
                  </a:moveTo>
                  <a:lnTo>
                    <a:pt x="0" y="188376"/>
                  </a:lnTo>
                  <a:lnTo>
                    <a:pt x="122454" y="188376"/>
                  </a:lnTo>
                  <a:lnTo>
                    <a:pt x="122454" y="157813"/>
                  </a:lnTo>
                  <a:lnTo>
                    <a:pt x="33235" y="157813"/>
                  </a:lnTo>
                  <a:lnTo>
                    <a:pt x="33235" y="112792"/>
                  </a:lnTo>
                  <a:lnTo>
                    <a:pt x="114094" y="112792"/>
                  </a:lnTo>
                  <a:lnTo>
                    <a:pt x="114094" y="83327"/>
                  </a:lnTo>
                  <a:lnTo>
                    <a:pt x="33235" y="83327"/>
                  </a:lnTo>
                  <a:lnTo>
                    <a:pt x="33235" y="30562"/>
                  </a:lnTo>
                  <a:lnTo>
                    <a:pt x="122454" y="30562"/>
                  </a:lnTo>
                  <a:lnTo>
                    <a:pt x="122454" y="0"/>
                  </a:lnTo>
                  <a:lnTo>
                    <a:pt x="0" y="0"/>
                  </a:lnTo>
                  <a:close/>
                </a:path>
              </a:pathLst>
            </a:custGeom>
            <a:grpFill/>
            <a:ln w="6853"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0EF39E0A-23A7-4A8E-BDFE-97F0DF77FD04}"/>
                </a:ext>
              </a:extLst>
            </p:cNvPr>
            <p:cNvSpPr/>
            <p:nvPr/>
          </p:nvSpPr>
          <p:spPr>
            <a:xfrm>
              <a:off x="10903178" y="557074"/>
              <a:ext cx="128896" cy="194954"/>
            </a:xfrm>
            <a:custGeom>
              <a:avLst/>
              <a:gdLst>
                <a:gd name="connsiteX0" fmla="*/ 60688 w 128896"/>
                <a:gd name="connsiteY0" fmla="*/ 194319 h 194954"/>
                <a:gd name="connsiteX1" fmla="*/ -985 w 128896"/>
                <a:gd name="connsiteY1" fmla="*/ 176366 h 194954"/>
                <a:gd name="connsiteX2" fmla="*/ 10528 w 128896"/>
                <a:gd name="connsiteY2" fmla="*/ 146352 h 194954"/>
                <a:gd name="connsiteX3" fmla="*/ 61716 w 128896"/>
                <a:gd name="connsiteY3" fmla="*/ 163209 h 194954"/>
                <a:gd name="connsiteX4" fmla="*/ 94060 w 128896"/>
                <a:gd name="connsiteY4" fmla="*/ 140185 h 194954"/>
                <a:gd name="connsiteX5" fmla="*/ 52944 w 128896"/>
                <a:gd name="connsiteY5" fmla="*/ 107498 h 194954"/>
                <a:gd name="connsiteX6" fmla="*/ 3607 w 128896"/>
                <a:gd name="connsiteY6" fmla="*/ 54185 h 194954"/>
                <a:gd name="connsiteX7" fmla="*/ 66855 w 128896"/>
                <a:gd name="connsiteY7" fmla="*/ -635 h 194954"/>
                <a:gd name="connsiteX8" fmla="*/ 118797 w 128896"/>
                <a:gd name="connsiteY8" fmla="*/ 12248 h 194954"/>
                <a:gd name="connsiteX9" fmla="*/ 108108 w 128896"/>
                <a:gd name="connsiteY9" fmla="*/ 41713 h 194954"/>
                <a:gd name="connsiteX10" fmla="*/ 66033 w 128896"/>
                <a:gd name="connsiteY10" fmla="*/ 29105 h 194954"/>
                <a:gd name="connsiteX11" fmla="*/ 37116 w 128896"/>
                <a:gd name="connsiteY11" fmla="*/ 53226 h 194954"/>
                <a:gd name="connsiteX12" fmla="*/ 73776 w 128896"/>
                <a:gd name="connsiteY12" fmla="*/ 82417 h 194954"/>
                <a:gd name="connsiteX13" fmla="*/ 127911 w 128896"/>
                <a:gd name="connsiteY13" fmla="*/ 140047 h 194954"/>
                <a:gd name="connsiteX14" fmla="*/ 60413 w 128896"/>
                <a:gd name="connsiteY14" fmla="*/ 194182 h 194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8896" h="194954">
                  <a:moveTo>
                    <a:pt x="60688" y="194319"/>
                  </a:moveTo>
                  <a:cubicBezTo>
                    <a:pt x="38896" y="193949"/>
                    <a:pt x="17585" y="187748"/>
                    <a:pt x="-985" y="176366"/>
                  </a:cubicBezTo>
                  <a:lnTo>
                    <a:pt x="10528" y="146352"/>
                  </a:lnTo>
                  <a:cubicBezTo>
                    <a:pt x="25603" y="156747"/>
                    <a:pt x="43419" y="162599"/>
                    <a:pt x="61716" y="163209"/>
                  </a:cubicBezTo>
                  <a:cubicBezTo>
                    <a:pt x="83918" y="163209"/>
                    <a:pt x="94060" y="152245"/>
                    <a:pt x="94060" y="140185"/>
                  </a:cubicBezTo>
                  <a:cubicBezTo>
                    <a:pt x="94060" y="128124"/>
                    <a:pt x="87207" y="120038"/>
                    <a:pt x="52944" y="107498"/>
                  </a:cubicBezTo>
                  <a:cubicBezTo>
                    <a:pt x="16215" y="93793"/>
                    <a:pt x="3607" y="76662"/>
                    <a:pt x="3607" y="54185"/>
                  </a:cubicBezTo>
                  <a:cubicBezTo>
                    <a:pt x="3607" y="25747"/>
                    <a:pt x="26631" y="-635"/>
                    <a:pt x="66855" y="-635"/>
                  </a:cubicBezTo>
                  <a:cubicBezTo>
                    <a:pt x="84946" y="-669"/>
                    <a:pt x="102831" y="3757"/>
                    <a:pt x="118797" y="12248"/>
                  </a:cubicBezTo>
                  <a:lnTo>
                    <a:pt x="108108" y="41713"/>
                  </a:lnTo>
                  <a:cubicBezTo>
                    <a:pt x="95293" y="34265"/>
                    <a:pt x="80834" y="29948"/>
                    <a:pt x="66033" y="29105"/>
                  </a:cubicBezTo>
                  <a:cubicBezTo>
                    <a:pt x="46229" y="29105"/>
                    <a:pt x="37116" y="40138"/>
                    <a:pt x="37116" y="53226"/>
                  </a:cubicBezTo>
                  <a:cubicBezTo>
                    <a:pt x="37116" y="66314"/>
                    <a:pt x="47257" y="72824"/>
                    <a:pt x="73776" y="82417"/>
                  </a:cubicBezTo>
                  <a:cubicBezTo>
                    <a:pt x="115851" y="98795"/>
                    <a:pt x="127911" y="115378"/>
                    <a:pt x="127911" y="140047"/>
                  </a:cubicBezTo>
                  <a:cubicBezTo>
                    <a:pt x="127911" y="173556"/>
                    <a:pt x="102488" y="194182"/>
                    <a:pt x="60413" y="194182"/>
                  </a:cubicBezTo>
                </a:path>
              </a:pathLst>
            </a:custGeom>
            <a:grpFill/>
            <a:ln w="6853"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F46E1330-2734-4879-8F37-EB6C19D791BB}"/>
                </a:ext>
              </a:extLst>
            </p:cNvPr>
            <p:cNvSpPr/>
            <p:nvPr/>
          </p:nvSpPr>
          <p:spPr>
            <a:xfrm>
              <a:off x="11078876" y="560432"/>
              <a:ext cx="122523" cy="188375"/>
            </a:xfrm>
            <a:custGeom>
              <a:avLst/>
              <a:gdLst>
                <a:gd name="connsiteX0" fmla="*/ 0 w 122523"/>
                <a:gd name="connsiteY0" fmla="*/ 0 h 188375"/>
                <a:gd name="connsiteX1" fmla="*/ 0 w 122523"/>
                <a:gd name="connsiteY1" fmla="*/ 188376 h 188375"/>
                <a:gd name="connsiteX2" fmla="*/ 122523 w 122523"/>
                <a:gd name="connsiteY2" fmla="*/ 188376 h 188375"/>
                <a:gd name="connsiteX3" fmla="*/ 122523 w 122523"/>
                <a:gd name="connsiteY3" fmla="*/ 157813 h 188375"/>
                <a:gd name="connsiteX4" fmla="*/ 33303 w 122523"/>
                <a:gd name="connsiteY4" fmla="*/ 157813 h 188375"/>
                <a:gd name="connsiteX5" fmla="*/ 33303 w 122523"/>
                <a:gd name="connsiteY5" fmla="*/ 112792 h 188375"/>
                <a:gd name="connsiteX6" fmla="*/ 114163 w 122523"/>
                <a:gd name="connsiteY6" fmla="*/ 112792 h 188375"/>
                <a:gd name="connsiteX7" fmla="*/ 114163 w 122523"/>
                <a:gd name="connsiteY7" fmla="*/ 83327 h 188375"/>
                <a:gd name="connsiteX8" fmla="*/ 33303 w 122523"/>
                <a:gd name="connsiteY8" fmla="*/ 83327 h 188375"/>
                <a:gd name="connsiteX9" fmla="*/ 33303 w 122523"/>
                <a:gd name="connsiteY9" fmla="*/ 30562 h 188375"/>
                <a:gd name="connsiteX10" fmla="*/ 122523 w 122523"/>
                <a:gd name="connsiteY10" fmla="*/ 30562 h 188375"/>
                <a:gd name="connsiteX11" fmla="*/ 122523 w 122523"/>
                <a:gd name="connsiteY11" fmla="*/ 0 h 188375"/>
                <a:gd name="connsiteX12" fmla="*/ 0 w 122523"/>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523" h="188375">
                  <a:moveTo>
                    <a:pt x="0" y="0"/>
                  </a:moveTo>
                  <a:lnTo>
                    <a:pt x="0" y="188376"/>
                  </a:lnTo>
                  <a:lnTo>
                    <a:pt x="122523" y="188376"/>
                  </a:lnTo>
                  <a:lnTo>
                    <a:pt x="122523" y="157813"/>
                  </a:lnTo>
                  <a:lnTo>
                    <a:pt x="33303" y="157813"/>
                  </a:lnTo>
                  <a:lnTo>
                    <a:pt x="33303" y="112792"/>
                  </a:lnTo>
                  <a:lnTo>
                    <a:pt x="114163" y="112792"/>
                  </a:lnTo>
                  <a:lnTo>
                    <a:pt x="114163" y="83327"/>
                  </a:lnTo>
                  <a:lnTo>
                    <a:pt x="33303" y="83327"/>
                  </a:lnTo>
                  <a:lnTo>
                    <a:pt x="33303" y="30562"/>
                  </a:lnTo>
                  <a:lnTo>
                    <a:pt x="122523" y="30562"/>
                  </a:lnTo>
                  <a:lnTo>
                    <a:pt x="122523" y="0"/>
                  </a:lnTo>
                  <a:lnTo>
                    <a:pt x="0" y="0"/>
                  </a:lnTo>
                  <a:close/>
                </a:path>
              </a:pathLst>
            </a:custGeom>
            <a:grpFill/>
            <a:ln w="6853"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32ED1C32-8954-4DC5-8742-722004C6AC5D}"/>
                </a:ext>
              </a:extLst>
            </p:cNvPr>
            <p:cNvSpPr/>
            <p:nvPr/>
          </p:nvSpPr>
          <p:spPr>
            <a:xfrm>
              <a:off x="11251971" y="560432"/>
              <a:ext cx="148767" cy="189412"/>
            </a:xfrm>
            <a:custGeom>
              <a:avLst/>
              <a:gdLst>
                <a:gd name="connsiteX0" fmla="*/ 32250 w 148767"/>
                <a:gd name="connsiteY0" fmla="*/ 29927 h 189412"/>
                <a:gd name="connsiteX1" fmla="*/ 32250 w 148767"/>
                <a:gd name="connsiteY1" fmla="*/ 103592 h 189412"/>
                <a:gd name="connsiteX2" fmla="*/ 56919 w 148767"/>
                <a:gd name="connsiteY2" fmla="*/ 103592 h 189412"/>
                <a:gd name="connsiteX3" fmla="*/ 98719 w 148767"/>
                <a:gd name="connsiteY3" fmla="*/ 66383 h 189412"/>
                <a:gd name="connsiteX4" fmla="*/ 56919 w 148767"/>
                <a:gd name="connsiteY4" fmla="*/ 29927 h 189412"/>
                <a:gd name="connsiteX5" fmla="*/ -985 w 148767"/>
                <a:gd name="connsiteY5" fmla="*/ -635 h 189412"/>
                <a:gd name="connsiteX6" fmla="*/ 59317 w 148767"/>
                <a:gd name="connsiteY6" fmla="*/ -635 h 189412"/>
                <a:gd name="connsiteX7" fmla="*/ 134694 w 148767"/>
                <a:gd name="connsiteY7" fmla="*/ 66383 h 189412"/>
                <a:gd name="connsiteX8" fmla="*/ 99610 w 148767"/>
                <a:gd name="connsiteY8" fmla="*/ 125862 h 189412"/>
                <a:gd name="connsiteX9" fmla="*/ 140314 w 148767"/>
                <a:gd name="connsiteY9" fmla="*/ 157727 h 189412"/>
                <a:gd name="connsiteX10" fmla="*/ 147783 w 148767"/>
                <a:gd name="connsiteY10" fmla="*/ 157727 h 189412"/>
                <a:gd name="connsiteX11" fmla="*/ 147783 w 148767"/>
                <a:gd name="connsiteY11" fmla="*/ 187192 h 189412"/>
                <a:gd name="connsiteX12" fmla="*/ 129829 w 148767"/>
                <a:gd name="connsiteY12" fmla="*/ 188768 h 189412"/>
                <a:gd name="connsiteX13" fmla="*/ 62880 w 148767"/>
                <a:gd name="connsiteY13" fmla="*/ 132783 h 189412"/>
                <a:gd name="connsiteX14" fmla="*/ 52944 w 148767"/>
                <a:gd name="connsiteY14" fmla="*/ 132783 h 189412"/>
                <a:gd name="connsiteX15" fmla="*/ 32387 w 148767"/>
                <a:gd name="connsiteY15" fmla="*/ 132783 h 189412"/>
                <a:gd name="connsiteX16" fmla="*/ 32387 w 148767"/>
                <a:gd name="connsiteY16" fmla="*/ 187604 h 189412"/>
                <a:gd name="connsiteX17" fmla="*/ -848 w 148767"/>
                <a:gd name="connsiteY17" fmla="*/ 187604 h 189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8767" h="189412">
                  <a:moveTo>
                    <a:pt x="32250" y="29927"/>
                  </a:moveTo>
                  <a:lnTo>
                    <a:pt x="32250" y="103592"/>
                  </a:lnTo>
                  <a:lnTo>
                    <a:pt x="56919" y="103592"/>
                  </a:lnTo>
                  <a:cubicBezTo>
                    <a:pt x="87961" y="103592"/>
                    <a:pt x="98719" y="87009"/>
                    <a:pt x="98719" y="66383"/>
                  </a:cubicBezTo>
                  <a:cubicBezTo>
                    <a:pt x="98719" y="45756"/>
                    <a:pt x="88235" y="29927"/>
                    <a:pt x="56919" y="29927"/>
                  </a:cubicBezTo>
                  <a:close/>
                  <a:moveTo>
                    <a:pt x="-985" y="-635"/>
                  </a:moveTo>
                  <a:lnTo>
                    <a:pt x="59317" y="-635"/>
                  </a:lnTo>
                  <a:cubicBezTo>
                    <a:pt x="109409" y="-635"/>
                    <a:pt x="134694" y="26775"/>
                    <a:pt x="134694" y="66383"/>
                  </a:cubicBezTo>
                  <a:cubicBezTo>
                    <a:pt x="134832" y="91154"/>
                    <a:pt x="121332" y="113994"/>
                    <a:pt x="99610" y="125862"/>
                  </a:cubicBezTo>
                  <a:cubicBezTo>
                    <a:pt x="113795" y="138128"/>
                    <a:pt x="117769" y="157727"/>
                    <a:pt x="140314" y="157727"/>
                  </a:cubicBezTo>
                  <a:lnTo>
                    <a:pt x="147783" y="157727"/>
                  </a:lnTo>
                  <a:lnTo>
                    <a:pt x="147783" y="187192"/>
                  </a:lnTo>
                  <a:cubicBezTo>
                    <a:pt x="141890" y="188323"/>
                    <a:pt x="135860" y="188851"/>
                    <a:pt x="129829" y="188768"/>
                  </a:cubicBezTo>
                  <a:cubicBezTo>
                    <a:pt x="82958" y="188768"/>
                    <a:pt x="85631" y="145666"/>
                    <a:pt x="62880" y="132783"/>
                  </a:cubicBezTo>
                  <a:cubicBezTo>
                    <a:pt x="59660" y="132783"/>
                    <a:pt x="56439" y="132783"/>
                    <a:pt x="52944" y="132783"/>
                  </a:cubicBezTo>
                  <a:lnTo>
                    <a:pt x="32387" y="132783"/>
                  </a:lnTo>
                  <a:lnTo>
                    <a:pt x="32387" y="187604"/>
                  </a:lnTo>
                  <a:lnTo>
                    <a:pt x="-848" y="187604"/>
                  </a:lnTo>
                  <a:close/>
                </a:path>
              </a:pathLst>
            </a:custGeom>
            <a:grpFill/>
            <a:ln w="6853"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4D9BA3F8-B706-48D2-84A5-BAF60046424E}"/>
                </a:ext>
              </a:extLst>
            </p:cNvPr>
            <p:cNvSpPr/>
            <p:nvPr/>
          </p:nvSpPr>
          <p:spPr>
            <a:xfrm>
              <a:off x="11411155" y="560432"/>
              <a:ext cx="185977" cy="190774"/>
            </a:xfrm>
            <a:custGeom>
              <a:avLst/>
              <a:gdLst>
                <a:gd name="connsiteX0" fmla="*/ 151098 w 185977"/>
                <a:gd name="connsiteY0" fmla="*/ 0 h 190774"/>
                <a:gd name="connsiteX1" fmla="*/ 93263 w 185977"/>
                <a:gd name="connsiteY1" fmla="*/ 128622 h 190774"/>
                <a:gd name="connsiteX2" fmla="*/ 35633 w 185977"/>
                <a:gd name="connsiteY2" fmla="*/ 0 h 190774"/>
                <a:gd name="connsiteX3" fmla="*/ 0 w 185977"/>
                <a:gd name="connsiteY3" fmla="*/ 0 h 190774"/>
                <a:gd name="connsiteX4" fmla="*/ 87370 w 185977"/>
                <a:gd name="connsiteY4" fmla="*/ 190774 h 190774"/>
                <a:gd name="connsiteX5" fmla="*/ 98608 w 185977"/>
                <a:gd name="connsiteY5" fmla="*/ 190774 h 190774"/>
                <a:gd name="connsiteX6" fmla="*/ 185977 w 185977"/>
                <a:gd name="connsiteY6" fmla="*/ 0 h 190774"/>
                <a:gd name="connsiteX7" fmla="*/ 151098 w 185977"/>
                <a:gd name="connsiteY7" fmla="*/ 0 h 19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977" h="190774">
                  <a:moveTo>
                    <a:pt x="151098" y="0"/>
                  </a:moveTo>
                  <a:lnTo>
                    <a:pt x="93263" y="128622"/>
                  </a:lnTo>
                  <a:lnTo>
                    <a:pt x="35633" y="0"/>
                  </a:lnTo>
                  <a:lnTo>
                    <a:pt x="0" y="0"/>
                  </a:lnTo>
                  <a:lnTo>
                    <a:pt x="87370" y="190774"/>
                  </a:lnTo>
                  <a:lnTo>
                    <a:pt x="98608" y="190774"/>
                  </a:lnTo>
                  <a:lnTo>
                    <a:pt x="185977" y="0"/>
                  </a:lnTo>
                  <a:lnTo>
                    <a:pt x="151098" y="0"/>
                  </a:lnTo>
                  <a:close/>
                </a:path>
              </a:pathLst>
            </a:custGeom>
            <a:grpFill/>
            <a:ln w="6853"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34C49746-C7B2-49F5-9848-5ED10587F0C5}"/>
                </a:ext>
              </a:extLst>
            </p:cNvPr>
            <p:cNvSpPr/>
            <p:nvPr/>
          </p:nvSpPr>
          <p:spPr>
            <a:xfrm>
              <a:off x="11631395" y="560432"/>
              <a:ext cx="122454" cy="188375"/>
            </a:xfrm>
            <a:custGeom>
              <a:avLst/>
              <a:gdLst>
                <a:gd name="connsiteX0" fmla="*/ 0 w 122454"/>
                <a:gd name="connsiteY0" fmla="*/ 0 h 188375"/>
                <a:gd name="connsiteX1" fmla="*/ 0 w 122454"/>
                <a:gd name="connsiteY1" fmla="*/ 188376 h 188375"/>
                <a:gd name="connsiteX2" fmla="*/ 122454 w 122454"/>
                <a:gd name="connsiteY2" fmla="*/ 188376 h 188375"/>
                <a:gd name="connsiteX3" fmla="*/ 122454 w 122454"/>
                <a:gd name="connsiteY3" fmla="*/ 157813 h 188375"/>
                <a:gd name="connsiteX4" fmla="*/ 33235 w 122454"/>
                <a:gd name="connsiteY4" fmla="*/ 157813 h 188375"/>
                <a:gd name="connsiteX5" fmla="*/ 33235 w 122454"/>
                <a:gd name="connsiteY5" fmla="*/ 112792 h 188375"/>
                <a:gd name="connsiteX6" fmla="*/ 114163 w 122454"/>
                <a:gd name="connsiteY6" fmla="*/ 112792 h 188375"/>
                <a:gd name="connsiteX7" fmla="*/ 114163 w 122454"/>
                <a:gd name="connsiteY7" fmla="*/ 83327 h 188375"/>
                <a:gd name="connsiteX8" fmla="*/ 33235 w 122454"/>
                <a:gd name="connsiteY8" fmla="*/ 83327 h 188375"/>
                <a:gd name="connsiteX9" fmla="*/ 33235 w 122454"/>
                <a:gd name="connsiteY9" fmla="*/ 30562 h 188375"/>
                <a:gd name="connsiteX10" fmla="*/ 122454 w 122454"/>
                <a:gd name="connsiteY10" fmla="*/ 30562 h 188375"/>
                <a:gd name="connsiteX11" fmla="*/ 122454 w 122454"/>
                <a:gd name="connsiteY11" fmla="*/ 0 h 188375"/>
                <a:gd name="connsiteX12" fmla="*/ 0 w 122454"/>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75">
                  <a:moveTo>
                    <a:pt x="0" y="0"/>
                  </a:moveTo>
                  <a:lnTo>
                    <a:pt x="0" y="188376"/>
                  </a:lnTo>
                  <a:lnTo>
                    <a:pt x="122454" y="188376"/>
                  </a:lnTo>
                  <a:lnTo>
                    <a:pt x="122454" y="157813"/>
                  </a:lnTo>
                  <a:lnTo>
                    <a:pt x="33235" y="157813"/>
                  </a:lnTo>
                  <a:lnTo>
                    <a:pt x="33235" y="112792"/>
                  </a:lnTo>
                  <a:lnTo>
                    <a:pt x="114163" y="112792"/>
                  </a:lnTo>
                  <a:lnTo>
                    <a:pt x="114163" y="83327"/>
                  </a:lnTo>
                  <a:lnTo>
                    <a:pt x="33235" y="83327"/>
                  </a:lnTo>
                  <a:lnTo>
                    <a:pt x="33235" y="30562"/>
                  </a:lnTo>
                  <a:lnTo>
                    <a:pt x="122454" y="30562"/>
                  </a:lnTo>
                  <a:lnTo>
                    <a:pt x="122454" y="0"/>
                  </a:lnTo>
                  <a:lnTo>
                    <a:pt x="0" y="0"/>
                  </a:lnTo>
                  <a:close/>
                </a:path>
              </a:pathLst>
            </a:custGeom>
            <a:grpFill/>
            <a:ln w="6853" cap="flat">
              <a:noFill/>
              <a:prstDash val="solid"/>
              <a:miter/>
            </a:ln>
          </p:spPr>
          <p:txBody>
            <a:bodyPr rtlCol="0" anchor="ctr"/>
            <a:lstStyle/>
            <a:p>
              <a:endParaRPr lang="en-GB"/>
            </a:p>
          </p:txBody>
        </p:sp>
      </p:grpSp>
      <p:sp>
        <p:nvSpPr>
          <p:cNvPr id="25" name="Picture Placeholder 24">
            <a:extLst>
              <a:ext uri="{FF2B5EF4-FFF2-40B4-BE49-F238E27FC236}">
                <a16:creationId xmlns:a16="http://schemas.microsoft.com/office/drawing/2014/main" id="{8DA027A5-040C-435B-BADC-90D1B50F8C08}"/>
              </a:ext>
            </a:extLst>
          </p:cNvPr>
          <p:cNvSpPr>
            <a:spLocks noGrp="1"/>
          </p:cNvSpPr>
          <p:nvPr>
            <p:ph type="pic" sz="quarter" idx="15"/>
          </p:nvPr>
        </p:nvSpPr>
        <p:spPr>
          <a:xfrm>
            <a:off x="7923254" y="2012965"/>
            <a:ext cx="4268746" cy="4284648"/>
          </a:xfrm>
          <a:custGeom>
            <a:avLst/>
            <a:gdLst>
              <a:gd name="connsiteX0" fmla="*/ 2047529 w 4268746"/>
              <a:gd name="connsiteY0" fmla="*/ 3183018 h 4284648"/>
              <a:gd name="connsiteX1" fmla="*/ 3785884 w 4268746"/>
              <a:gd name="connsiteY1" fmla="*/ 3183018 h 4284648"/>
              <a:gd name="connsiteX2" fmla="*/ 4242833 w 4268746"/>
              <a:gd name="connsiteY2" fmla="*/ 3425978 h 4284648"/>
              <a:gd name="connsiteX3" fmla="*/ 4268746 w 4268746"/>
              <a:gd name="connsiteY3" fmla="*/ 3473719 h 4284648"/>
              <a:gd name="connsiteX4" fmla="*/ 4268746 w 4268746"/>
              <a:gd name="connsiteY4" fmla="*/ 3994445 h 4284648"/>
              <a:gd name="connsiteX5" fmla="*/ 4242833 w 4268746"/>
              <a:gd name="connsiteY5" fmla="*/ 4042186 h 4284648"/>
              <a:gd name="connsiteX6" fmla="*/ 3856069 w 4268746"/>
              <a:gd name="connsiteY6" fmla="*/ 4280719 h 4284648"/>
              <a:gd name="connsiteX7" fmla="*/ 3793778 w 4268746"/>
              <a:gd name="connsiteY7" fmla="*/ 4284648 h 4284648"/>
              <a:gd name="connsiteX8" fmla="*/ 2042595 w 4268746"/>
              <a:gd name="connsiteY8" fmla="*/ 4284648 h 4284648"/>
              <a:gd name="connsiteX9" fmla="*/ 1936468 w 4268746"/>
              <a:gd name="connsiteY9" fmla="*/ 4273937 h 4284648"/>
              <a:gd name="connsiteX10" fmla="*/ 1496467 w 4268746"/>
              <a:gd name="connsiteY10" fmla="*/ 3734018 h 4284648"/>
              <a:gd name="connsiteX11" fmla="*/ 1496467 w 4268746"/>
              <a:gd name="connsiteY11" fmla="*/ 3733955 h 4284648"/>
              <a:gd name="connsiteX12" fmla="*/ 2047529 w 4268746"/>
              <a:gd name="connsiteY12" fmla="*/ 3183018 h 4284648"/>
              <a:gd name="connsiteX13" fmla="*/ 551062 w 4268746"/>
              <a:gd name="connsiteY13" fmla="*/ 3182955 h 4284648"/>
              <a:gd name="connsiteX14" fmla="*/ 551317 w 4268746"/>
              <a:gd name="connsiteY14" fmla="*/ 3182955 h 4284648"/>
              <a:gd name="connsiteX15" fmla="*/ 1102379 w 4268746"/>
              <a:gd name="connsiteY15" fmla="*/ 3734018 h 4284648"/>
              <a:gd name="connsiteX16" fmla="*/ 662375 w 4268746"/>
              <a:gd name="connsiteY16" fmla="*/ 4273887 h 4284648"/>
              <a:gd name="connsiteX17" fmla="*/ 555622 w 4268746"/>
              <a:gd name="connsiteY17" fmla="*/ 4284648 h 4284648"/>
              <a:gd name="connsiteX18" fmla="*/ 547012 w 4268746"/>
              <a:gd name="connsiteY18" fmla="*/ 4284648 h 4284648"/>
              <a:gd name="connsiteX19" fmla="*/ 440260 w 4268746"/>
              <a:gd name="connsiteY19" fmla="*/ 4273887 h 4284648"/>
              <a:gd name="connsiteX20" fmla="*/ 255 w 4268746"/>
              <a:gd name="connsiteY20" fmla="*/ 3734018 h 4284648"/>
              <a:gd name="connsiteX21" fmla="*/ 64 w 4268746"/>
              <a:gd name="connsiteY21" fmla="*/ 3734082 h 4284648"/>
              <a:gd name="connsiteX22" fmla="*/ 64 w 4268746"/>
              <a:gd name="connsiteY22" fmla="*/ 3733955 h 4284648"/>
              <a:gd name="connsiteX23" fmla="*/ 551062 w 4268746"/>
              <a:gd name="connsiteY23" fmla="*/ 3182955 h 4284648"/>
              <a:gd name="connsiteX24" fmla="*/ 3785884 w 4268746"/>
              <a:gd name="connsiteY24" fmla="*/ 1591573 h 4284648"/>
              <a:gd name="connsiteX25" fmla="*/ 4242833 w 4268746"/>
              <a:gd name="connsiteY25" fmla="*/ 1834532 h 4284648"/>
              <a:gd name="connsiteX26" fmla="*/ 4268746 w 4268746"/>
              <a:gd name="connsiteY26" fmla="*/ 1882274 h 4284648"/>
              <a:gd name="connsiteX27" fmla="*/ 4268746 w 4268746"/>
              <a:gd name="connsiteY27" fmla="*/ 2403001 h 4284648"/>
              <a:gd name="connsiteX28" fmla="*/ 4242846 w 4268746"/>
              <a:gd name="connsiteY28" fmla="*/ 2450721 h 4284648"/>
              <a:gd name="connsiteX29" fmla="*/ 3785948 w 4268746"/>
              <a:gd name="connsiteY29" fmla="*/ 2693700 h 4284648"/>
              <a:gd name="connsiteX30" fmla="*/ 3785884 w 4268746"/>
              <a:gd name="connsiteY30" fmla="*/ 2693700 h 4284648"/>
              <a:gd name="connsiteX31" fmla="*/ 3234823 w 4268746"/>
              <a:gd name="connsiteY31" fmla="*/ 2142637 h 4284648"/>
              <a:gd name="connsiteX32" fmla="*/ 3785884 w 4268746"/>
              <a:gd name="connsiteY32" fmla="*/ 1591573 h 4284648"/>
              <a:gd name="connsiteX33" fmla="*/ 551062 w 4268746"/>
              <a:gd name="connsiteY33" fmla="*/ 1591573 h 4284648"/>
              <a:gd name="connsiteX34" fmla="*/ 2289673 w 4268746"/>
              <a:gd name="connsiteY34" fmla="*/ 1591573 h 4284648"/>
              <a:gd name="connsiteX35" fmla="*/ 2840734 w 4268746"/>
              <a:gd name="connsiteY35" fmla="*/ 2142637 h 4284648"/>
              <a:gd name="connsiteX36" fmla="*/ 2289673 w 4268746"/>
              <a:gd name="connsiteY36" fmla="*/ 2693700 h 4284648"/>
              <a:gd name="connsiteX37" fmla="*/ 551062 w 4268746"/>
              <a:gd name="connsiteY37" fmla="*/ 2693700 h 4284648"/>
              <a:gd name="connsiteX38" fmla="*/ 64 w 4268746"/>
              <a:gd name="connsiteY38" fmla="*/ 2142700 h 4284648"/>
              <a:gd name="connsiteX39" fmla="*/ 1 w 4268746"/>
              <a:gd name="connsiteY39" fmla="*/ 2142573 h 4284648"/>
              <a:gd name="connsiteX40" fmla="*/ 1 w 4268746"/>
              <a:gd name="connsiteY40" fmla="*/ 2142509 h 4284648"/>
              <a:gd name="connsiteX41" fmla="*/ 551062 w 4268746"/>
              <a:gd name="connsiteY41" fmla="*/ 1591573 h 4284648"/>
              <a:gd name="connsiteX42" fmla="*/ 551126 w 4268746"/>
              <a:gd name="connsiteY42" fmla="*/ 64 h 4284648"/>
              <a:gd name="connsiteX43" fmla="*/ 1102124 w 4268746"/>
              <a:gd name="connsiteY43" fmla="*/ 551191 h 4284648"/>
              <a:gd name="connsiteX44" fmla="*/ 1102188 w 4268746"/>
              <a:gd name="connsiteY44" fmla="*/ 551064 h 4284648"/>
              <a:gd name="connsiteX45" fmla="*/ 551062 w 4268746"/>
              <a:gd name="connsiteY45" fmla="*/ 1102191 h 4284648"/>
              <a:gd name="connsiteX46" fmla="*/ 550999 w 4268746"/>
              <a:gd name="connsiteY46" fmla="*/ 1102191 h 4284648"/>
              <a:gd name="connsiteX47" fmla="*/ 1 w 4268746"/>
              <a:gd name="connsiteY47" fmla="*/ 551064 h 4284648"/>
              <a:gd name="connsiteX48" fmla="*/ 551126 w 4268746"/>
              <a:gd name="connsiteY48" fmla="*/ 64 h 4284648"/>
              <a:gd name="connsiteX49" fmla="*/ 2047529 w 4268746"/>
              <a:gd name="connsiteY49" fmla="*/ 0 h 4284648"/>
              <a:gd name="connsiteX50" fmla="*/ 3785694 w 4268746"/>
              <a:gd name="connsiteY50" fmla="*/ 0 h 4284648"/>
              <a:gd name="connsiteX51" fmla="*/ 4242642 w 4268746"/>
              <a:gd name="connsiteY51" fmla="*/ 242960 h 4284648"/>
              <a:gd name="connsiteX52" fmla="*/ 4268746 w 4268746"/>
              <a:gd name="connsiteY52" fmla="*/ 291053 h 4284648"/>
              <a:gd name="connsiteX53" fmla="*/ 4268746 w 4268746"/>
              <a:gd name="connsiteY53" fmla="*/ 811427 h 4284648"/>
              <a:gd name="connsiteX54" fmla="*/ 4242833 w 4268746"/>
              <a:gd name="connsiteY54" fmla="*/ 859168 h 4284648"/>
              <a:gd name="connsiteX55" fmla="*/ 3785884 w 4268746"/>
              <a:gd name="connsiteY55" fmla="*/ 1102127 h 4284648"/>
              <a:gd name="connsiteX56" fmla="*/ 2047529 w 4268746"/>
              <a:gd name="connsiteY56" fmla="*/ 1102127 h 4284648"/>
              <a:gd name="connsiteX57" fmla="*/ 1496467 w 4268746"/>
              <a:gd name="connsiteY57" fmla="*/ 551064 h 4284648"/>
              <a:gd name="connsiteX58" fmla="*/ 2047529 w 4268746"/>
              <a:gd name="connsiteY58" fmla="*/ 0 h 42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4268746" h="4284648">
                <a:moveTo>
                  <a:pt x="2047529" y="3183018"/>
                </a:moveTo>
                <a:lnTo>
                  <a:pt x="3785884" y="3183018"/>
                </a:lnTo>
                <a:cubicBezTo>
                  <a:pt x="3976098" y="3183018"/>
                  <a:pt x="4143803" y="3279394"/>
                  <a:pt x="4242833" y="3425978"/>
                </a:cubicBezTo>
                <a:lnTo>
                  <a:pt x="4268746" y="3473719"/>
                </a:lnTo>
                <a:lnTo>
                  <a:pt x="4268746" y="3994445"/>
                </a:lnTo>
                <a:lnTo>
                  <a:pt x="4242833" y="4042186"/>
                </a:lnTo>
                <a:cubicBezTo>
                  <a:pt x="4156182" y="4170447"/>
                  <a:pt x="4016951" y="4260268"/>
                  <a:pt x="3856069" y="4280719"/>
                </a:cubicBezTo>
                <a:lnTo>
                  <a:pt x="3793778" y="4284648"/>
                </a:lnTo>
                <a:lnTo>
                  <a:pt x="2042595" y="4284648"/>
                </a:lnTo>
                <a:lnTo>
                  <a:pt x="1936468" y="4273937"/>
                </a:lnTo>
                <a:cubicBezTo>
                  <a:pt x="1685353" y="4222524"/>
                  <a:pt x="1496467" y="4000329"/>
                  <a:pt x="1496467" y="3734018"/>
                </a:cubicBezTo>
                <a:cubicBezTo>
                  <a:pt x="1496467" y="3733999"/>
                  <a:pt x="1496467" y="3733974"/>
                  <a:pt x="1496467" y="3733955"/>
                </a:cubicBezTo>
                <a:cubicBezTo>
                  <a:pt x="1496505" y="3429645"/>
                  <a:pt x="1743219" y="3182987"/>
                  <a:pt x="2047529" y="3183018"/>
                </a:cubicBezTo>
                <a:close/>
                <a:moveTo>
                  <a:pt x="551062" y="3182955"/>
                </a:moveTo>
                <a:cubicBezTo>
                  <a:pt x="551145" y="3182955"/>
                  <a:pt x="551234" y="3182955"/>
                  <a:pt x="551317" y="3182955"/>
                </a:cubicBezTo>
                <a:cubicBezTo>
                  <a:pt x="855658" y="3182955"/>
                  <a:pt x="1102379" y="3429676"/>
                  <a:pt x="1102379" y="3734018"/>
                </a:cubicBezTo>
                <a:cubicBezTo>
                  <a:pt x="1102379" y="4000318"/>
                  <a:pt x="913483" y="4222502"/>
                  <a:pt x="662375" y="4273887"/>
                </a:cubicBezTo>
                <a:lnTo>
                  <a:pt x="555622" y="4284648"/>
                </a:lnTo>
                <a:lnTo>
                  <a:pt x="547012" y="4284648"/>
                </a:lnTo>
                <a:lnTo>
                  <a:pt x="440260" y="4273887"/>
                </a:lnTo>
                <a:cubicBezTo>
                  <a:pt x="189151" y="4222502"/>
                  <a:pt x="255" y="4000318"/>
                  <a:pt x="255" y="3734018"/>
                </a:cubicBezTo>
                <a:lnTo>
                  <a:pt x="64" y="3734082"/>
                </a:lnTo>
                <a:cubicBezTo>
                  <a:pt x="64" y="3734037"/>
                  <a:pt x="64" y="3733999"/>
                  <a:pt x="64" y="3733955"/>
                </a:cubicBezTo>
                <a:cubicBezTo>
                  <a:pt x="64" y="3429645"/>
                  <a:pt x="246753" y="3182955"/>
                  <a:pt x="551062" y="3182955"/>
                </a:cubicBezTo>
                <a:close/>
                <a:moveTo>
                  <a:pt x="3785884" y="1591573"/>
                </a:moveTo>
                <a:cubicBezTo>
                  <a:pt x="3976098" y="1591573"/>
                  <a:pt x="4143803" y="1687948"/>
                  <a:pt x="4242833" y="1834532"/>
                </a:cubicBezTo>
                <a:lnTo>
                  <a:pt x="4268746" y="1882274"/>
                </a:lnTo>
                <a:lnTo>
                  <a:pt x="4268746" y="2403001"/>
                </a:lnTo>
                <a:lnTo>
                  <a:pt x="4242846" y="2450721"/>
                </a:lnTo>
                <a:cubicBezTo>
                  <a:pt x="4143830" y="2597300"/>
                  <a:pt x="3976145" y="2693680"/>
                  <a:pt x="3785948" y="2693700"/>
                </a:cubicBezTo>
                <a:cubicBezTo>
                  <a:pt x="3785929" y="2693700"/>
                  <a:pt x="3785903" y="2693700"/>
                  <a:pt x="3785884" y="2693700"/>
                </a:cubicBezTo>
                <a:cubicBezTo>
                  <a:pt x="3481543" y="2693700"/>
                  <a:pt x="3234823" y="2446979"/>
                  <a:pt x="3234823" y="2142637"/>
                </a:cubicBezTo>
                <a:cubicBezTo>
                  <a:pt x="3234823" y="1838294"/>
                  <a:pt x="3481543" y="1591573"/>
                  <a:pt x="3785884" y="1591573"/>
                </a:cubicBezTo>
                <a:close/>
                <a:moveTo>
                  <a:pt x="551062" y="1591573"/>
                </a:moveTo>
                <a:lnTo>
                  <a:pt x="2289673" y="1591573"/>
                </a:lnTo>
                <a:cubicBezTo>
                  <a:pt x="2594014" y="1591573"/>
                  <a:pt x="2840734" y="1838294"/>
                  <a:pt x="2840734" y="2142637"/>
                </a:cubicBezTo>
                <a:cubicBezTo>
                  <a:pt x="2840734" y="2446979"/>
                  <a:pt x="2594014" y="2693700"/>
                  <a:pt x="2289673" y="2693700"/>
                </a:cubicBezTo>
                <a:lnTo>
                  <a:pt x="551062" y="2693700"/>
                </a:lnTo>
                <a:cubicBezTo>
                  <a:pt x="246785" y="2693630"/>
                  <a:pt x="134" y="2446979"/>
                  <a:pt x="64" y="2142700"/>
                </a:cubicBezTo>
                <a:lnTo>
                  <a:pt x="1" y="2142573"/>
                </a:lnTo>
                <a:cubicBezTo>
                  <a:pt x="1" y="2142554"/>
                  <a:pt x="1" y="2142528"/>
                  <a:pt x="1" y="2142509"/>
                </a:cubicBezTo>
                <a:cubicBezTo>
                  <a:pt x="36" y="1838199"/>
                  <a:pt x="246753" y="1591535"/>
                  <a:pt x="551062" y="1591573"/>
                </a:cubicBezTo>
                <a:close/>
                <a:moveTo>
                  <a:pt x="551126" y="64"/>
                </a:moveTo>
                <a:cubicBezTo>
                  <a:pt x="855467" y="102"/>
                  <a:pt x="1102162" y="246849"/>
                  <a:pt x="1102124" y="551191"/>
                </a:cubicBezTo>
                <a:lnTo>
                  <a:pt x="1102188" y="551064"/>
                </a:lnTo>
                <a:cubicBezTo>
                  <a:pt x="1102188" y="855444"/>
                  <a:pt x="855442" y="1102191"/>
                  <a:pt x="551062" y="1102191"/>
                </a:cubicBezTo>
                <a:cubicBezTo>
                  <a:pt x="551043" y="1102191"/>
                  <a:pt x="551018" y="1102191"/>
                  <a:pt x="550999" y="1102191"/>
                </a:cubicBezTo>
                <a:cubicBezTo>
                  <a:pt x="246657" y="1102153"/>
                  <a:pt x="-34" y="855406"/>
                  <a:pt x="1" y="551064"/>
                </a:cubicBezTo>
                <a:cubicBezTo>
                  <a:pt x="36" y="246721"/>
                  <a:pt x="246785" y="25"/>
                  <a:pt x="551126" y="64"/>
                </a:cubicBezTo>
                <a:close/>
                <a:moveTo>
                  <a:pt x="2047529" y="0"/>
                </a:moveTo>
                <a:lnTo>
                  <a:pt x="3785694" y="0"/>
                </a:lnTo>
                <a:cubicBezTo>
                  <a:pt x="3975907" y="0"/>
                  <a:pt x="4143612" y="96376"/>
                  <a:pt x="4242642" y="242960"/>
                </a:cubicBezTo>
                <a:lnTo>
                  <a:pt x="4268746" y="291053"/>
                </a:lnTo>
                <a:lnTo>
                  <a:pt x="4268746" y="811427"/>
                </a:lnTo>
                <a:lnTo>
                  <a:pt x="4242833" y="859168"/>
                </a:lnTo>
                <a:cubicBezTo>
                  <a:pt x="4143803" y="1005752"/>
                  <a:pt x="3976098" y="1102127"/>
                  <a:pt x="3785884" y="1102127"/>
                </a:cubicBezTo>
                <a:lnTo>
                  <a:pt x="2047529" y="1102127"/>
                </a:lnTo>
                <a:cubicBezTo>
                  <a:pt x="1743188" y="1102127"/>
                  <a:pt x="1496467" y="855406"/>
                  <a:pt x="1496467" y="551064"/>
                </a:cubicBezTo>
                <a:cubicBezTo>
                  <a:pt x="1496467" y="246721"/>
                  <a:pt x="1743188" y="0"/>
                  <a:pt x="2047529" y="0"/>
                </a:cubicBezTo>
                <a:close/>
              </a:path>
            </a:pathLst>
          </a:custGeom>
          <a:solidFill>
            <a:srgbClr val="E6E7E8"/>
          </a:solidFill>
        </p:spPr>
        <p:txBody>
          <a:bodyPr wrap="square" anchor="ctr" anchorCtr="0">
            <a:noAutofit/>
          </a:bodyPr>
          <a:lstStyle>
            <a:lvl1pPr marL="0" indent="0">
              <a:spcBef>
                <a:spcPts val="1200"/>
              </a:spcBef>
              <a:buNone/>
              <a:defRPr sz="1400"/>
            </a:lvl1pPr>
          </a:lstStyle>
          <a:p>
            <a:r>
              <a:rPr lang="en-US"/>
              <a:t>Click icon to add picture</a:t>
            </a:r>
            <a:endParaRPr lang="en-GB"/>
          </a:p>
        </p:txBody>
      </p:sp>
      <p:sp>
        <p:nvSpPr>
          <p:cNvPr id="24" name="Picture Placeholder 6">
            <a:extLst>
              <a:ext uri="{FF2B5EF4-FFF2-40B4-BE49-F238E27FC236}">
                <a16:creationId xmlns:a16="http://schemas.microsoft.com/office/drawing/2014/main" id="{0C25BD26-7732-4D10-8CC4-1768DA7D1E60}"/>
              </a:ext>
            </a:extLst>
          </p:cNvPr>
          <p:cNvSpPr>
            <a:spLocks noGrp="1"/>
          </p:cNvSpPr>
          <p:nvPr>
            <p:ph type="pic" sz="quarter" idx="10"/>
          </p:nvPr>
        </p:nvSpPr>
        <p:spPr>
          <a:xfrm>
            <a:off x="571500" y="5826125"/>
            <a:ext cx="2093913" cy="650875"/>
          </a:xfrm>
        </p:spPr>
        <p:txBody>
          <a:bodyPr/>
          <a:lstStyle>
            <a:lvl1pPr marL="0" indent="0">
              <a:buFontTx/>
              <a:buNone/>
              <a:defRPr/>
            </a:lvl1pPr>
          </a:lstStyle>
          <a:p>
            <a:endParaRPr lang="en-IN"/>
          </a:p>
        </p:txBody>
      </p:sp>
      <p:sp>
        <p:nvSpPr>
          <p:cNvPr id="26" name="Subtitle 2">
            <a:extLst>
              <a:ext uri="{FF2B5EF4-FFF2-40B4-BE49-F238E27FC236}">
                <a16:creationId xmlns:a16="http://schemas.microsoft.com/office/drawing/2014/main" id="{573632B1-8DBD-497D-8012-15D157867EEF}"/>
              </a:ext>
            </a:extLst>
          </p:cNvPr>
          <p:cNvSpPr>
            <a:spLocks noGrp="1"/>
          </p:cNvSpPr>
          <p:nvPr>
            <p:ph type="subTitle" idx="1" hasCustomPrompt="1"/>
          </p:nvPr>
        </p:nvSpPr>
        <p:spPr>
          <a:xfrm>
            <a:off x="603272" y="4227545"/>
            <a:ext cx="5140303" cy="1258455"/>
          </a:xfrm>
        </p:spPr>
        <p:txBody>
          <a:bodyPr lIns="0" rIns="0">
            <a:normAutofit/>
          </a:bodyPr>
          <a:lstStyle>
            <a:lvl1pPr marL="0" indent="0" algn="l">
              <a:buNone/>
              <a:defRPr sz="1600" b="0">
                <a:solidFill>
                  <a:schemeClr val="tx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p:txBody>
      </p:sp>
      <p:sp>
        <p:nvSpPr>
          <p:cNvPr id="27" name="Title 22">
            <a:extLst>
              <a:ext uri="{FF2B5EF4-FFF2-40B4-BE49-F238E27FC236}">
                <a16:creationId xmlns:a16="http://schemas.microsoft.com/office/drawing/2014/main" id="{B70B9ED9-D1EE-4C39-9E58-BC827A755607}"/>
              </a:ext>
            </a:extLst>
          </p:cNvPr>
          <p:cNvSpPr>
            <a:spLocks noGrp="1"/>
          </p:cNvSpPr>
          <p:nvPr>
            <p:ph type="title" hasCustomPrompt="1"/>
          </p:nvPr>
        </p:nvSpPr>
        <p:spPr>
          <a:xfrm>
            <a:off x="587375" y="2225428"/>
            <a:ext cx="5156200" cy="1661993"/>
          </a:xfrm>
        </p:spPr>
        <p:txBody>
          <a:bodyPr vert="horz" lIns="0" tIns="0" rIns="0" bIns="0" anchor="b" anchorCtr="0">
            <a:spAutoFit/>
          </a:bodyPr>
          <a:lstStyle>
            <a:lvl1pPr>
              <a:lnSpc>
                <a:spcPct val="100000"/>
              </a:lnSpc>
              <a:spcBef>
                <a:spcPts val="100"/>
              </a:spcBef>
              <a:spcAft>
                <a:spcPts val="100"/>
              </a:spcAft>
              <a:defRPr sz="3600">
                <a:solidFill>
                  <a:schemeClr val="accent1"/>
                </a:solidFill>
              </a:defRPr>
            </a:lvl1pPr>
          </a:lstStyle>
          <a:p>
            <a:r>
              <a:rPr lang="en-US"/>
              <a:t>Title placeholder </a:t>
            </a:r>
            <a:r>
              <a:rPr lang="en-US" err="1"/>
              <a:t>alitori</a:t>
            </a:r>
            <a:r>
              <a:rPr lang="en-US"/>
              <a:t> </a:t>
            </a:r>
            <a:r>
              <a:rPr lang="en-US" err="1"/>
              <a:t>ut</a:t>
            </a:r>
            <a:r>
              <a:rPr lang="en-US"/>
              <a:t> </a:t>
            </a:r>
            <a:r>
              <a:rPr lang="en-US" err="1"/>
              <a:t>exeri</a:t>
            </a:r>
            <a:r>
              <a:rPr lang="en-US"/>
              <a:t> </a:t>
            </a:r>
            <a:r>
              <a:rPr lang="en-US" err="1"/>
              <a:t>bearitati</a:t>
            </a:r>
            <a:r>
              <a:rPr lang="en-US"/>
              <a:t> </a:t>
            </a:r>
            <a:r>
              <a:rPr lang="en-US" err="1"/>
              <a:t>ut</a:t>
            </a:r>
            <a:r>
              <a:rPr lang="en-US"/>
              <a:t> </a:t>
            </a:r>
            <a:r>
              <a:rPr lang="en-US" err="1"/>
              <a:t>volent</a:t>
            </a:r>
            <a:r>
              <a:rPr lang="en-US"/>
              <a:t> </a:t>
            </a:r>
            <a:r>
              <a:rPr lang="en-US" err="1"/>
              <a:t>lamusdae</a:t>
            </a:r>
            <a:r>
              <a:rPr lang="en-US"/>
              <a:t> es qui.</a:t>
            </a:r>
            <a:endParaRPr lang="en-GB"/>
          </a:p>
        </p:txBody>
      </p:sp>
    </p:spTree>
    <p:custDataLst>
      <p:tags r:id="rId1"/>
    </p:custDataLst>
    <p:extLst>
      <p:ext uri="{BB962C8B-B14F-4D97-AF65-F5344CB8AC3E}">
        <p14:creationId xmlns:p14="http://schemas.microsoft.com/office/powerpoint/2010/main" val="3377420439"/>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2 Charts side by s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912E86-6E38-4F10-8E64-15B667979BB3}"/>
              </a:ext>
            </a:extLst>
          </p:cNvPr>
          <p:cNvGraphicFramePr>
            <a:graphicFrameLocks noChangeAspect="1"/>
          </p:cNvGraphicFramePr>
          <p:nvPr userDrawn="1">
            <p:custDataLst>
              <p:tags r:id="rId2"/>
            </p:custDataLst>
            <p:extLst>
              <p:ext uri="{D42A27DB-BD31-4B8C-83A1-F6EECF244321}">
                <p14:modId xmlns:p14="http://schemas.microsoft.com/office/powerpoint/2010/main" val="4164987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EE912E86-6E38-4F10-8E64-15B667979B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Text Placeholder 26">
            <a:extLst>
              <a:ext uri="{FF2B5EF4-FFF2-40B4-BE49-F238E27FC236}">
                <a16:creationId xmlns:a16="http://schemas.microsoft.com/office/drawing/2014/main" id="{4082B183-E22D-43C3-82C1-3DCF84F7249F}"/>
              </a:ext>
            </a:extLst>
          </p:cNvPr>
          <p:cNvSpPr>
            <a:spLocks noGrp="1"/>
          </p:cNvSpPr>
          <p:nvPr>
            <p:ph type="body" sz="quarter" idx="18"/>
          </p:nvPr>
        </p:nvSpPr>
        <p:spPr>
          <a:xfrm>
            <a:off x="550866" y="1409700"/>
            <a:ext cx="3273552" cy="548640"/>
          </a:xfrm>
          <a:prstGeom prst="roundRect">
            <a:avLst>
              <a:gd name="adj" fmla="val 50000"/>
            </a:avLst>
          </a:prstGeom>
          <a:solidFill>
            <a:schemeClr val="accent1"/>
          </a:solidFill>
        </p:spPr>
        <p:txBody>
          <a:bodyPr/>
          <a:lstStyle>
            <a:lvl1pPr marL="0" indent="0" algn="ctr">
              <a:buNone/>
              <a:defRPr sz="2000" b="1">
                <a:solidFill>
                  <a:schemeClr val="bg1"/>
                </a:solidFill>
              </a:defRPr>
            </a:lvl1pPr>
            <a:lvl2pPr marL="228600" indent="0">
              <a:buNone/>
              <a:defRPr/>
            </a:lvl2pPr>
            <a:lvl3pPr marL="457200" indent="0">
              <a:buNone/>
              <a:defRPr/>
            </a:lvl3pPr>
            <a:lvl4pPr marL="685800" indent="0">
              <a:buNone/>
              <a:defRPr/>
            </a:lvl4pPr>
            <a:lvl5pPr marL="914400" indent="0">
              <a:buNone/>
              <a:defRPr/>
            </a:lvl5pPr>
          </a:lstStyle>
          <a:p>
            <a:pPr lvl="0"/>
            <a:endParaRPr lang="en-IN"/>
          </a:p>
        </p:txBody>
      </p:sp>
      <p:sp>
        <p:nvSpPr>
          <p:cNvPr id="41" name="Text Placeholder 26">
            <a:extLst>
              <a:ext uri="{FF2B5EF4-FFF2-40B4-BE49-F238E27FC236}">
                <a16:creationId xmlns:a16="http://schemas.microsoft.com/office/drawing/2014/main" id="{9AF7707D-90E7-49B9-960C-834EB7BB9D84}"/>
              </a:ext>
            </a:extLst>
          </p:cNvPr>
          <p:cNvSpPr>
            <a:spLocks noGrp="1"/>
          </p:cNvSpPr>
          <p:nvPr>
            <p:ph type="body" sz="quarter" idx="19"/>
          </p:nvPr>
        </p:nvSpPr>
        <p:spPr>
          <a:xfrm>
            <a:off x="4440970" y="1409700"/>
            <a:ext cx="3273552" cy="548640"/>
          </a:xfrm>
          <a:prstGeom prst="roundRect">
            <a:avLst>
              <a:gd name="adj" fmla="val 50000"/>
            </a:avLst>
          </a:prstGeom>
          <a:solidFill>
            <a:schemeClr val="accent2"/>
          </a:solidFill>
        </p:spPr>
        <p:txBody>
          <a:bodyPr/>
          <a:lstStyle>
            <a:lvl1pPr marL="0" indent="0" algn="ctr">
              <a:buNone/>
              <a:defRPr sz="2000" b="1">
                <a:solidFill>
                  <a:schemeClr val="bg1"/>
                </a:solidFill>
              </a:defRPr>
            </a:lvl1pPr>
            <a:lvl2pPr marL="228600" indent="0">
              <a:buNone/>
              <a:defRPr/>
            </a:lvl2pPr>
            <a:lvl3pPr marL="457200" indent="0">
              <a:buNone/>
              <a:defRPr/>
            </a:lvl3pPr>
            <a:lvl4pPr marL="685800" indent="0">
              <a:buNone/>
              <a:defRPr/>
            </a:lvl4pPr>
            <a:lvl5pPr marL="914400" indent="0">
              <a:buNone/>
              <a:defRPr/>
            </a:lvl5pPr>
          </a:lstStyle>
          <a:p>
            <a:pPr lvl="0"/>
            <a:endParaRPr lang="en-IN"/>
          </a:p>
        </p:txBody>
      </p:sp>
      <p:sp>
        <p:nvSpPr>
          <p:cNvPr id="42" name="Text Placeholder 26">
            <a:extLst>
              <a:ext uri="{FF2B5EF4-FFF2-40B4-BE49-F238E27FC236}">
                <a16:creationId xmlns:a16="http://schemas.microsoft.com/office/drawing/2014/main" id="{4D99418C-333C-42B9-9588-9D3C9802F13F}"/>
              </a:ext>
            </a:extLst>
          </p:cNvPr>
          <p:cNvSpPr>
            <a:spLocks noGrp="1"/>
          </p:cNvSpPr>
          <p:nvPr>
            <p:ph type="body" sz="quarter" idx="20"/>
          </p:nvPr>
        </p:nvSpPr>
        <p:spPr>
          <a:xfrm>
            <a:off x="8331073" y="1409700"/>
            <a:ext cx="3273552" cy="548640"/>
          </a:xfrm>
          <a:prstGeom prst="roundRect">
            <a:avLst>
              <a:gd name="adj" fmla="val 50000"/>
            </a:avLst>
          </a:prstGeom>
          <a:solidFill>
            <a:schemeClr val="accent3"/>
          </a:solidFill>
        </p:spPr>
        <p:txBody>
          <a:bodyPr/>
          <a:lstStyle>
            <a:lvl1pPr marL="0" indent="0" algn="ctr">
              <a:buNone/>
              <a:defRPr sz="2000" b="1">
                <a:solidFill>
                  <a:schemeClr val="bg1"/>
                </a:solidFill>
              </a:defRPr>
            </a:lvl1pPr>
            <a:lvl2pPr marL="228600" indent="0">
              <a:buNone/>
              <a:defRPr/>
            </a:lvl2pPr>
            <a:lvl3pPr marL="457200" indent="0">
              <a:buNone/>
              <a:defRPr/>
            </a:lvl3pPr>
            <a:lvl4pPr marL="685800" indent="0">
              <a:buNone/>
              <a:defRPr/>
            </a:lvl4pPr>
            <a:lvl5pPr marL="914400" indent="0">
              <a:buNone/>
              <a:defRPr/>
            </a:lvl5pPr>
          </a:lstStyle>
          <a:p>
            <a:pPr lvl="0"/>
            <a:endParaRPr lang="en-IN"/>
          </a:p>
        </p:txBody>
      </p:sp>
      <p:sp>
        <p:nvSpPr>
          <p:cNvPr id="2" name="Title 1">
            <a:extLst>
              <a:ext uri="{FF2B5EF4-FFF2-40B4-BE49-F238E27FC236}">
                <a16:creationId xmlns:a16="http://schemas.microsoft.com/office/drawing/2014/main" id="{1C36959F-2346-401A-BA9A-ED98F6034A4D}"/>
              </a:ext>
            </a:extLst>
          </p:cNvPr>
          <p:cNvSpPr>
            <a:spLocks noGrp="1"/>
          </p:cNvSpPr>
          <p:nvPr>
            <p:ph type="title" hasCustomPrompt="1"/>
          </p:nvPr>
        </p:nvSpPr>
        <p:spPr>
          <a:xfrm>
            <a:off x="587375" y="393192"/>
            <a:ext cx="10980738" cy="548640"/>
          </a:xfrm>
        </p:spPr>
        <p:txBody>
          <a:bodyPr vert="horz" anchor="ctr"/>
          <a:lstStyle>
            <a:lvl1pPr>
              <a:defRPr>
                <a:solidFill>
                  <a:schemeClr val="accent1"/>
                </a:solidFill>
              </a:defRPr>
            </a:lvl1pPr>
          </a:lstStyle>
          <a:p>
            <a:r>
              <a:rPr lang="en-US"/>
              <a:t>H1 placeholder.</a:t>
            </a:r>
            <a:endParaRPr lang="en-GB"/>
          </a:p>
        </p:txBody>
      </p:sp>
      <p:cxnSp>
        <p:nvCxnSpPr>
          <p:cNvPr id="38" name="Straight Connector 37">
            <a:extLst>
              <a:ext uri="{FF2B5EF4-FFF2-40B4-BE49-F238E27FC236}">
                <a16:creationId xmlns:a16="http://schemas.microsoft.com/office/drawing/2014/main" id="{EF9394A5-CD02-4004-A65E-AAFFCDDE0B8E}"/>
              </a:ext>
            </a:extLst>
          </p:cNvPr>
          <p:cNvCxnSpPr/>
          <p:nvPr userDrawn="1"/>
        </p:nvCxnSpPr>
        <p:spPr>
          <a:xfrm>
            <a:off x="4176316" y="1684020"/>
            <a:ext cx="0" cy="4121694"/>
          </a:xfrm>
          <a:prstGeom prst="line">
            <a:avLst/>
          </a:prstGeom>
          <a:ln>
            <a:gradFill>
              <a:gsLst>
                <a:gs pos="100000">
                  <a:schemeClr val="accent1">
                    <a:lumMod val="5000"/>
                    <a:lumOff val="95000"/>
                  </a:schemeClr>
                </a:gs>
                <a:gs pos="49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ED2D272-BEC9-4E43-968E-7FA85893B6AF}"/>
              </a:ext>
            </a:extLst>
          </p:cNvPr>
          <p:cNvCxnSpPr/>
          <p:nvPr userDrawn="1"/>
        </p:nvCxnSpPr>
        <p:spPr>
          <a:xfrm>
            <a:off x="7979173" y="1684020"/>
            <a:ext cx="0" cy="4121694"/>
          </a:xfrm>
          <a:prstGeom prst="line">
            <a:avLst/>
          </a:prstGeom>
          <a:ln>
            <a:gradFill>
              <a:gsLst>
                <a:gs pos="100000">
                  <a:schemeClr val="accent1">
                    <a:lumMod val="5000"/>
                    <a:lumOff val="95000"/>
                  </a:schemeClr>
                </a:gs>
                <a:gs pos="49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8E4A4678-72E2-4B3F-843B-82FEB3FB4DC9}"/>
              </a:ext>
            </a:extLst>
          </p:cNvPr>
          <p:cNvSpPr>
            <a:spLocks noGrp="1"/>
          </p:cNvSpPr>
          <p:nvPr>
            <p:ph type="body" sz="quarter" idx="21"/>
          </p:nvPr>
        </p:nvSpPr>
        <p:spPr>
          <a:xfrm>
            <a:off x="587375" y="2121820"/>
            <a:ext cx="3375025" cy="4121693"/>
          </a:xfrm>
        </p:spPr>
        <p:txBody>
          <a:bodyPr/>
          <a:lstStyle>
            <a:lvl1pPr marL="0" indent="0">
              <a:buFontTx/>
              <a:buNone/>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a:p>
            <a:pPr lvl="1"/>
            <a:endParaRPr lang="en-IN"/>
          </a:p>
        </p:txBody>
      </p:sp>
      <p:sp>
        <p:nvSpPr>
          <p:cNvPr id="43" name="Text Placeholder 5">
            <a:extLst>
              <a:ext uri="{FF2B5EF4-FFF2-40B4-BE49-F238E27FC236}">
                <a16:creationId xmlns:a16="http://schemas.microsoft.com/office/drawing/2014/main" id="{1BE5711E-3EA7-4E92-90F1-10B93956A55F}"/>
              </a:ext>
            </a:extLst>
          </p:cNvPr>
          <p:cNvSpPr>
            <a:spLocks noGrp="1"/>
          </p:cNvSpPr>
          <p:nvPr>
            <p:ph type="body" sz="quarter" idx="22"/>
          </p:nvPr>
        </p:nvSpPr>
        <p:spPr>
          <a:xfrm>
            <a:off x="4390232" y="2121820"/>
            <a:ext cx="3375025" cy="4121693"/>
          </a:xfrm>
        </p:spPr>
        <p:txBody>
          <a:bodyPr/>
          <a:lstStyle>
            <a:lvl1pPr marL="0" indent="0">
              <a:buFontTx/>
              <a:buNone/>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a:p>
            <a:pPr lvl="1"/>
            <a:endParaRPr lang="en-IN"/>
          </a:p>
        </p:txBody>
      </p:sp>
      <p:sp>
        <p:nvSpPr>
          <p:cNvPr id="44" name="Text Placeholder 5">
            <a:extLst>
              <a:ext uri="{FF2B5EF4-FFF2-40B4-BE49-F238E27FC236}">
                <a16:creationId xmlns:a16="http://schemas.microsoft.com/office/drawing/2014/main" id="{A81F09DD-FC4D-4D6F-84A6-71FDCD200C67}"/>
              </a:ext>
            </a:extLst>
          </p:cNvPr>
          <p:cNvSpPr>
            <a:spLocks noGrp="1"/>
          </p:cNvSpPr>
          <p:nvPr>
            <p:ph type="body" sz="quarter" idx="23"/>
          </p:nvPr>
        </p:nvSpPr>
        <p:spPr>
          <a:xfrm>
            <a:off x="8193088" y="2121820"/>
            <a:ext cx="3375025" cy="4121693"/>
          </a:xfrm>
        </p:spPr>
        <p:txBody>
          <a:bodyPr/>
          <a:lstStyle>
            <a:lvl1pPr marL="0" indent="0">
              <a:buFontTx/>
              <a:buNone/>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a:p>
            <a:pPr lvl="1"/>
            <a:endParaRPr lang="en-IN"/>
          </a:p>
        </p:txBody>
      </p:sp>
    </p:spTree>
    <p:custDataLst>
      <p:tags r:id="rId1"/>
    </p:custDataLst>
    <p:extLst>
      <p:ext uri="{BB962C8B-B14F-4D97-AF65-F5344CB8AC3E}">
        <p14:creationId xmlns:p14="http://schemas.microsoft.com/office/powerpoint/2010/main" val="18176419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Cover Purple/Gradient">
    <p:bg>
      <p:bgPr>
        <a:solidFill>
          <a:schemeClr val="accent1"/>
        </a:solidFill>
        <a:effectLst/>
      </p:bgPr>
    </p:bg>
    <p:spTree>
      <p:nvGrpSpPr>
        <p:cNvPr id="1" name=""/>
        <p:cNvGrpSpPr/>
        <p:nvPr/>
      </p:nvGrpSpPr>
      <p:grpSpPr>
        <a:xfrm>
          <a:off x="0" y="0"/>
          <a:ext cx="0" cy="0"/>
          <a:chOff x="0" y="0"/>
          <a:chExt cx="0" cy="0"/>
        </a:xfrm>
      </p:grpSpPr>
      <p:pic>
        <p:nvPicPr>
          <p:cNvPr id="31" name="Picture 30" descr="Background pattern&#10;&#10;Description automatically generated">
            <a:extLst>
              <a:ext uri="{FF2B5EF4-FFF2-40B4-BE49-F238E27FC236}">
                <a16:creationId xmlns:a16="http://schemas.microsoft.com/office/drawing/2014/main" id="{E62B7ECA-4C4E-4864-8977-C917D0D382A2}"/>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a:xfrm>
            <a:off x="7923254" y="2012965"/>
            <a:ext cx="4268746" cy="4285146"/>
          </a:xfrm>
          <a:custGeom>
            <a:avLst/>
            <a:gdLst>
              <a:gd name="connsiteX0" fmla="*/ 2047529 w 4268746"/>
              <a:gd name="connsiteY0" fmla="*/ 3183018 h 4285146"/>
              <a:gd name="connsiteX1" fmla="*/ 3785884 w 4268746"/>
              <a:gd name="connsiteY1" fmla="*/ 3183018 h 4285146"/>
              <a:gd name="connsiteX2" fmla="*/ 4242833 w 4268746"/>
              <a:gd name="connsiteY2" fmla="*/ 3425978 h 4285146"/>
              <a:gd name="connsiteX3" fmla="*/ 4268746 w 4268746"/>
              <a:gd name="connsiteY3" fmla="*/ 3473719 h 4285146"/>
              <a:gd name="connsiteX4" fmla="*/ 4268746 w 4268746"/>
              <a:gd name="connsiteY4" fmla="*/ 3994445 h 4285146"/>
              <a:gd name="connsiteX5" fmla="*/ 4242833 w 4268746"/>
              <a:gd name="connsiteY5" fmla="*/ 4042186 h 4285146"/>
              <a:gd name="connsiteX6" fmla="*/ 3785884 w 4268746"/>
              <a:gd name="connsiteY6" fmla="*/ 4285146 h 4285146"/>
              <a:gd name="connsiteX7" fmla="*/ 2047529 w 4268746"/>
              <a:gd name="connsiteY7" fmla="*/ 4285146 h 4285146"/>
              <a:gd name="connsiteX8" fmla="*/ 1496467 w 4268746"/>
              <a:gd name="connsiteY8" fmla="*/ 3734018 h 4285146"/>
              <a:gd name="connsiteX9" fmla="*/ 1496467 w 4268746"/>
              <a:gd name="connsiteY9" fmla="*/ 3733955 h 4285146"/>
              <a:gd name="connsiteX10" fmla="*/ 2047529 w 4268746"/>
              <a:gd name="connsiteY10" fmla="*/ 3183018 h 4285146"/>
              <a:gd name="connsiteX11" fmla="*/ 551062 w 4268746"/>
              <a:gd name="connsiteY11" fmla="*/ 3182955 h 4285146"/>
              <a:gd name="connsiteX12" fmla="*/ 551317 w 4268746"/>
              <a:gd name="connsiteY12" fmla="*/ 3182955 h 4285146"/>
              <a:gd name="connsiteX13" fmla="*/ 1102379 w 4268746"/>
              <a:gd name="connsiteY13" fmla="*/ 3734018 h 4285146"/>
              <a:gd name="connsiteX14" fmla="*/ 551317 w 4268746"/>
              <a:gd name="connsiteY14" fmla="*/ 4285082 h 4285146"/>
              <a:gd name="connsiteX15" fmla="*/ 255 w 4268746"/>
              <a:gd name="connsiteY15" fmla="*/ 3734018 h 4285146"/>
              <a:gd name="connsiteX16" fmla="*/ 64 w 4268746"/>
              <a:gd name="connsiteY16" fmla="*/ 3734082 h 4285146"/>
              <a:gd name="connsiteX17" fmla="*/ 64 w 4268746"/>
              <a:gd name="connsiteY17" fmla="*/ 3733955 h 4285146"/>
              <a:gd name="connsiteX18" fmla="*/ 551062 w 4268746"/>
              <a:gd name="connsiteY18" fmla="*/ 3182955 h 4285146"/>
              <a:gd name="connsiteX19" fmla="*/ 3785884 w 4268746"/>
              <a:gd name="connsiteY19" fmla="*/ 1591573 h 4285146"/>
              <a:gd name="connsiteX20" fmla="*/ 4242833 w 4268746"/>
              <a:gd name="connsiteY20" fmla="*/ 1834532 h 4285146"/>
              <a:gd name="connsiteX21" fmla="*/ 4268746 w 4268746"/>
              <a:gd name="connsiteY21" fmla="*/ 1882274 h 4285146"/>
              <a:gd name="connsiteX22" fmla="*/ 4268746 w 4268746"/>
              <a:gd name="connsiteY22" fmla="*/ 2403001 h 4285146"/>
              <a:gd name="connsiteX23" fmla="*/ 4242846 w 4268746"/>
              <a:gd name="connsiteY23" fmla="*/ 2450721 h 4285146"/>
              <a:gd name="connsiteX24" fmla="*/ 3785948 w 4268746"/>
              <a:gd name="connsiteY24" fmla="*/ 2693700 h 4285146"/>
              <a:gd name="connsiteX25" fmla="*/ 3785884 w 4268746"/>
              <a:gd name="connsiteY25" fmla="*/ 2693700 h 4285146"/>
              <a:gd name="connsiteX26" fmla="*/ 3234823 w 4268746"/>
              <a:gd name="connsiteY26" fmla="*/ 2142637 h 4285146"/>
              <a:gd name="connsiteX27" fmla="*/ 3785884 w 4268746"/>
              <a:gd name="connsiteY27" fmla="*/ 1591573 h 4285146"/>
              <a:gd name="connsiteX28" fmla="*/ 551062 w 4268746"/>
              <a:gd name="connsiteY28" fmla="*/ 1591573 h 4285146"/>
              <a:gd name="connsiteX29" fmla="*/ 2289673 w 4268746"/>
              <a:gd name="connsiteY29" fmla="*/ 1591573 h 4285146"/>
              <a:gd name="connsiteX30" fmla="*/ 2840734 w 4268746"/>
              <a:gd name="connsiteY30" fmla="*/ 2142637 h 4285146"/>
              <a:gd name="connsiteX31" fmla="*/ 2289673 w 4268746"/>
              <a:gd name="connsiteY31" fmla="*/ 2693700 h 4285146"/>
              <a:gd name="connsiteX32" fmla="*/ 551062 w 4268746"/>
              <a:gd name="connsiteY32" fmla="*/ 2693700 h 4285146"/>
              <a:gd name="connsiteX33" fmla="*/ 64 w 4268746"/>
              <a:gd name="connsiteY33" fmla="*/ 2142700 h 4285146"/>
              <a:gd name="connsiteX34" fmla="*/ 1 w 4268746"/>
              <a:gd name="connsiteY34" fmla="*/ 2142573 h 4285146"/>
              <a:gd name="connsiteX35" fmla="*/ 1 w 4268746"/>
              <a:gd name="connsiteY35" fmla="*/ 2142509 h 4285146"/>
              <a:gd name="connsiteX36" fmla="*/ 551062 w 4268746"/>
              <a:gd name="connsiteY36" fmla="*/ 1591573 h 4285146"/>
              <a:gd name="connsiteX37" fmla="*/ 551126 w 4268746"/>
              <a:gd name="connsiteY37" fmla="*/ 64 h 4285146"/>
              <a:gd name="connsiteX38" fmla="*/ 1102124 w 4268746"/>
              <a:gd name="connsiteY38" fmla="*/ 551191 h 4285146"/>
              <a:gd name="connsiteX39" fmla="*/ 1102188 w 4268746"/>
              <a:gd name="connsiteY39" fmla="*/ 551064 h 4285146"/>
              <a:gd name="connsiteX40" fmla="*/ 551062 w 4268746"/>
              <a:gd name="connsiteY40" fmla="*/ 1102191 h 4285146"/>
              <a:gd name="connsiteX41" fmla="*/ 550999 w 4268746"/>
              <a:gd name="connsiteY41" fmla="*/ 1102191 h 4285146"/>
              <a:gd name="connsiteX42" fmla="*/ 1 w 4268746"/>
              <a:gd name="connsiteY42" fmla="*/ 551064 h 4285146"/>
              <a:gd name="connsiteX43" fmla="*/ 551126 w 4268746"/>
              <a:gd name="connsiteY43" fmla="*/ 64 h 4285146"/>
              <a:gd name="connsiteX44" fmla="*/ 2047529 w 4268746"/>
              <a:gd name="connsiteY44" fmla="*/ 0 h 4285146"/>
              <a:gd name="connsiteX45" fmla="*/ 3785694 w 4268746"/>
              <a:gd name="connsiteY45" fmla="*/ 0 h 4285146"/>
              <a:gd name="connsiteX46" fmla="*/ 4242642 w 4268746"/>
              <a:gd name="connsiteY46" fmla="*/ 242960 h 4285146"/>
              <a:gd name="connsiteX47" fmla="*/ 4268746 w 4268746"/>
              <a:gd name="connsiteY47" fmla="*/ 291053 h 4285146"/>
              <a:gd name="connsiteX48" fmla="*/ 4268746 w 4268746"/>
              <a:gd name="connsiteY48" fmla="*/ 811427 h 4285146"/>
              <a:gd name="connsiteX49" fmla="*/ 4242833 w 4268746"/>
              <a:gd name="connsiteY49" fmla="*/ 859168 h 4285146"/>
              <a:gd name="connsiteX50" fmla="*/ 3785884 w 4268746"/>
              <a:gd name="connsiteY50" fmla="*/ 1102127 h 4285146"/>
              <a:gd name="connsiteX51" fmla="*/ 2047529 w 4268746"/>
              <a:gd name="connsiteY51" fmla="*/ 1102127 h 4285146"/>
              <a:gd name="connsiteX52" fmla="*/ 1496467 w 4268746"/>
              <a:gd name="connsiteY52" fmla="*/ 551064 h 4285146"/>
              <a:gd name="connsiteX53" fmla="*/ 2047529 w 4268746"/>
              <a:gd name="connsiteY53" fmla="*/ 0 h 428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268746" h="4285146">
                <a:moveTo>
                  <a:pt x="2047529" y="3183018"/>
                </a:moveTo>
                <a:lnTo>
                  <a:pt x="3785884" y="3183018"/>
                </a:lnTo>
                <a:cubicBezTo>
                  <a:pt x="3976098" y="3183018"/>
                  <a:pt x="4143803" y="3279394"/>
                  <a:pt x="4242833" y="3425978"/>
                </a:cubicBezTo>
                <a:lnTo>
                  <a:pt x="4268746" y="3473719"/>
                </a:lnTo>
                <a:lnTo>
                  <a:pt x="4268746" y="3994445"/>
                </a:lnTo>
                <a:lnTo>
                  <a:pt x="4242833" y="4042186"/>
                </a:lnTo>
                <a:cubicBezTo>
                  <a:pt x="4143803" y="4188770"/>
                  <a:pt x="3976098" y="4285146"/>
                  <a:pt x="3785884" y="4285146"/>
                </a:cubicBezTo>
                <a:lnTo>
                  <a:pt x="2047529" y="4285146"/>
                </a:lnTo>
                <a:cubicBezTo>
                  <a:pt x="1743175" y="4285108"/>
                  <a:pt x="1496467" y="4038373"/>
                  <a:pt x="1496467" y="3734018"/>
                </a:cubicBezTo>
                <a:cubicBezTo>
                  <a:pt x="1496467" y="3733999"/>
                  <a:pt x="1496467" y="3733974"/>
                  <a:pt x="1496467" y="3733955"/>
                </a:cubicBezTo>
                <a:cubicBezTo>
                  <a:pt x="1496505" y="3429645"/>
                  <a:pt x="1743219" y="3182987"/>
                  <a:pt x="2047529" y="3183018"/>
                </a:cubicBezTo>
                <a:close/>
                <a:moveTo>
                  <a:pt x="551062" y="3182955"/>
                </a:moveTo>
                <a:cubicBezTo>
                  <a:pt x="551145" y="3182955"/>
                  <a:pt x="551234" y="3182955"/>
                  <a:pt x="551317" y="3182955"/>
                </a:cubicBezTo>
                <a:cubicBezTo>
                  <a:pt x="855658" y="3182955"/>
                  <a:pt x="1102379" y="3429676"/>
                  <a:pt x="1102379" y="3734018"/>
                </a:cubicBezTo>
                <a:cubicBezTo>
                  <a:pt x="1102379" y="4038361"/>
                  <a:pt x="855658" y="4285082"/>
                  <a:pt x="551317" y="4285082"/>
                </a:cubicBezTo>
                <a:cubicBezTo>
                  <a:pt x="246976" y="4285082"/>
                  <a:pt x="255" y="4038361"/>
                  <a:pt x="255" y="3734018"/>
                </a:cubicBezTo>
                <a:lnTo>
                  <a:pt x="64" y="3734082"/>
                </a:lnTo>
                <a:cubicBezTo>
                  <a:pt x="64" y="3734037"/>
                  <a:pt x="64" y="3733999"/>
                  <a:pt x="64" y="3733955"/>
                </a:cubicBezTo>
                <a:cubicBezTo>
                  <a:pt x="64" y="3429645"/>
                  <a:pt x="246753" y="3182955"/>
                  <a:pt x="551062" y="3182955"/>
                </a:cubicBezTo>
                <a:close/>
                <a:moveTo>
                  <a:pt x="3785884" y="1591573"/>
                </a:moveTo>
                <a:cubicBezTo>
                  <a:pt x="3976098" y="1591573"/>
                  <a:pt x="4143803" y="1687948"/>
                  <a:pt x="4242833" y="1834532"/>
                </a:cubicBezTo>
                <a:lnTo>
                  <a:pt x="4268746" y="1882274"/>
                </a:lnTo>
                <a:lnTo>
                  <a:pt x="4268746" y="2403001"/>
                </a:lnTo>
                <a:lnTo>
                  <a:pt x="4242846" y="2450721"/>
                </a:lnTo>
                <a:cubicBezTo>
                  <a:pt x="4143830" y="2597300"/>
                  <a:pt x="3976145" y="2693680"/>
                  <a:pt x="3785948" y="2693700"/>
                </a:cubicBezTo>
                <a:cubicBezTo>
                  <a:pt x="3785929" y="2693700"/>
                  <a:pt x="3785903" y="2693700"/>
                  <a:pt x="3785884" y="2693700"/>
                </a:cubicBezTo>
                <a:cubicBezTo>
                  <a:pt x="3481543" y="2693700"/>
                  <a:pt x="3234823" y="2446979"/>
                  <a:pt x="3234823" y="2142637"/>
                </a:cubicBezTo>
                <a:cubicBezTo>
                  <a:pt x="3234823" y="1838294"/>
                  <a:pt x="3481543" y="1591573"/>
                  <a:pt x="3785884" y="1591573"/>
                </a:cubicBezTo>
                <a:close/>
                <a:moveTo>
                  <a:pt x="551062" y="1591573"/>
                </a:moveTo>
                <a:lnTo>
                  <a:pt x="2289673" y="1591573"/>
                </a:lnTo>
                <a:cubicBezTo>
                  <a:pt x="2594014" y="1591573"/>
                  <a:pt x="2840734" y="1838294"/>
                  <a:pt x="2840734" y="2142637"/>
                </a:cubicBezTo>
                <a:cubicBezTo>
                  <a:pt x="2840734" y="2446979"/>
                  <a:pt x="2594014" y="2693700"/>
                  <a:pt x="2289673" y="2693700"/>
                </a:cubicBezTo>
                <a:lnTo>
                  <a:pt x="551062" y="2693700"/>
                </a:lnTo>
                <a:cubicBezTo>
                  <a:pt x="246785" y="2693630"/>
                  <a:pt x="134" y="2446979"/>
                  <a:pt x="64" y="2142700"/>
                </a:cubicBezTo>
                <a:lnTo>
                  <a:pt x="1" y="2142573"/>
                </a:lnTo>
                <a:cubicBezTo>
                  <a:pt x="1" y="2142554"/>
                  <a:pt x="1" y="2142528"/>
                  <a:pt x="1" y="2142509"/>
                </a:cubicBezTo>
                <a:cubicBezTo>
                  <a:pt x="36" y="1838199"/>
                  <a:pt x="246753" y="1591535"/>
                  <a:pt x="551062" y="1591573"/>
                </a:cubicBezTo>
                <a:close/>
                <a:moveTo>
                  <a:pt x="551126" y="64"/>
                </a:moveTo>
                <a:cubicBezTo>
                  <a:pt x="855467" y="102"/>
                  <a:pt x="1102162" y="246849"/>
                  <a:pt x="1102124" y="551191"/>
                </a:cubicBezTo>
                <a:lnTo>
                  <a:pt x="1102188" y="551064"/>
                </a:lnTo>
                <a:cubicBezTo>
                  <a:pt x="1102188" y="855444"/>
                  <a:pt x="855442" y="1102191"/>
                  <a:pt x="551062" y="1102191"/>
                </a:cubicBezTo>
                <a:cubicBezTo>
                  <a:pt x="551043" y="1102191"/>
                  <a:pt x="551018" y="1102191"/>
                  <a:pt x="550999" y="1102191"/>
                </a:cubicBezTo>
                <a:cubicBezTo>
                  <a:pt x="246657" y="1102153"/>
                  <a:pt x="-34" y="855406"/>
                  <a:pt x="1" y="551064"/>
                </a:cubicBezTo>
                <a:cubicBezTo>
                  <a:pt x="36" y="246721"/>
                  <a:pt x="246785" y="25"/>
                  <a:pt x="551126" y="64"/>
                </a:cubicBezTo>
                <a:close/>
                <a:moveTo>
                  <a:pt x="2047529" y="0"/>
                </a:moveTo>
                <a:lnTo>
                  <a:pt x="3785694" y="0"/>
                </a:lnTo>
                <a:cubicBezTo>
                  <a:pt x="3975907" y="0"/>
                  <a:pt x="4143612" y="96376"/>
                  <a:pt x="4242642" y="242960"/>
                </a:cubicBezTo>
                <a:lnTo>
                  <a:pt x="4268746" y="291053"/>
                </a:lnTo>
                <a:lnTo>
                  <a:pt x="4268746" y="811427"/>
                </a:lnTo>
                <a:lnTo>
                  <a:pt x="4242833" y="859168"/>
                </a:lnTo>
                <a:cubicBezTo>
                  <a:pt x="4143803" y="1005752"/>
                  <a:pt x="3976098" y="1102127"/>
                  <a:pt x="3785884" y="1102127"/>
                </a:cubicBezTo>
                <a:lnTo>
                  <a:pt x="2047529" y="1102127"/>
                </a:lnTo>
                <a:cubicBezTo>
                  <a:pt x="1743188" y="1102127"/>
                  <a:pt x="1496467" y="855406"/>
                  <a:pt x="1496467" y="551064"/>
                </a:cubicBezTo>
                <a:cubicBezTo>
                  <a:pt x="1496467" y="246721"/>
                  <a:pt x="1743188" y="0"/>
                  <a:pt x="2047529" y="0"/>
                </a:cubicBezTo>
                <a:close/>
              </a:path>
            </a:pathLst>
          </a:custGeom>
        </p:spPr>
      </p:pic>
      <p:grpSp>
        <p:nvGrpSpPr>
          <p:cNvPr id="22" name="Group 21">
            <a:extLst>
              <a:ext uri="{FF2B5EF4-FFF2-40B4-BE49-F238E27FC236}">
                <a16:creationId xmlns:a16="http://schemas.microsoft.com/office/drawing/2014/main" id="{06D3E6A9-608F-4FEF-9318-50780452D43F}"/>
              </a:ext>
            </a:extLst>
          </p:cNvPr>
          <p:cNvGrpSpPr/>
          <p:nvPr userDrawn="1"/>
        </p:nvGrpSpPr>
        <p:grpSpPr>
          <a:xfrm>
            <a:off x="9848850" y="557074"/>
            <a:ext cx="1904999" cy="195571"/>
            <a:chOff x="9848850" y="557074"/>
            <a:chExt cx="1904999" cy="195571"/>
          </a:xfrm>
          <a:solidFill>
            <a:schemeClr val="bg1"/>
          </a:solidFill>
        </p:grpSpPr>
        <p:sp>
          <p:nvSpPr>
            <p:cNvPr id="4" name="Freeform: Shape 3">
              <a:extLst>
                <a:ext uri="{FF2B5EF4-FFF2-40B4-BE49-F238E27FC236}">
                  <a16:creationId xmlns:a16="http://schemas.microsoft.com/office/drawing/2014/main" id="{982B1A2E-3EC0-4B78-AB9A-10329041127E}"/>
                </a:ext>
              </a:extLst>
            </p:cNvPr>
            <p:cNvSpPr/>
            <p:nvPr/>
          </p:nvSpPr>
          <p:spPr>
            <a:xfrm>
              <a:off x="9848850" y="560843"/>
              <a:ext cx="122454" cy="188307"/>
            </a:xfrm>
            <a:custGeom>
              <a:avLst/>
              <a:gdLst>
                <a:gd name="connsiteX0" fmla="*/ 0 w 122454"/>
                <a:gd name="connsiteY0" fmla="*/ 0 h 188307"/>
                <a:gd name="connsiteX1" fmla="*/ 0 w 122454"/>
                <a:gd name="connsiteY1" fmla="*/ 188307 h 188307"/>
                <a:gd name="connsiteX2" fmla="*/ 122455 w 122454"/>
                <a:gd name="connsiteY2" fmla="*/ 188307 h 188307"/>
                <a:gd name="connsiteX3" fmla="*/ 122455 w 122454"/>
                <a:gd name="connsiteY3" fmla="*/ 157813 h 188307"/>
                <a:gd name="connsiteX4" fmla="*/ 33235 w 122454"/>
                <a:gd name="connsiteY4" fmla="*/ 157813 h 188307"/>
                <a:gd name="connsiteX5" fmla="*/ 33235 w 122454"/>
                <a:gd name="connsiteY5" fmla="*/ 112792 h 188307"/>
                <a:gd name="connsiteX6" fmla="*/ 114163 w 122454"/>
                <a:gd name="connsiteY6" fmla="*/ 112792 h 188307"/>
                <a:gd name="connsiteX7" fmla="*/ 114163 w 122454"/>
                <a:gd name="connsiteY7" fmla="*/ 83327 h 188307"/>
                <a:gd name="connsiteX8" fmla="*/ 33235 w 122454"/>
                <a:gd name="connsiteY8" fmla="*/ 83327 h 188307"/>
                <a:gd name="connsiteX9" fmla="*/ 33235 w 122454"/>
                <a:gd name="connsiteY9" fmla="*/ 30562 h 188307"/>
                <a:gd name="connsiteX10" fmla="*/ 122455 w 122454"/>
                <a:gd name="connsiteY10" fmla="*/ 30562 h 188307"/>
                <a:gd name="connsiteX11" fmla="*/ 122455 w 122454"/>
                <a:gd name="connsiteY11" fmla="*/ 0 h 188307"/>
                <a:gd name="connsiteX12" fmla="*/ 0 w 122454"/>
                <a:gd name="connsiteY12" fmla="*/ 0 h 18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07">
                  <a:moveTo>
                    <a:pt x="0" y="0"/>
                  </a:moveTo>
                  <a:lnTo>
                    <a:pt x="0" y="188307"/>
                  </a:lnTo>
                  <a:lnTo>
                    <a:pt x="122455" y="188307"/>
                  </a:lnTo>
                  <a:lnTo>
                    <a:pt x="122455" y="157813"/>
                  </a:lnTo>
                  <a:lnTo>
                    <a:pt x="33235" y="157813"/>
                  </a:lnTo>
                  <a:lnTo>
                    <a:pt x="33235" y="112792"/>
                  </a:lnTo>
                  <a:lnTo>
                    <a:pt x="114163" y="112792"/>
                  </a:lnTo>
                  <a:lnTo>
                    <a:pt x="114163" y="83327"/>
                  </a:lnTo>
                  <a:lnTo>
                    <a:pt x="33235" y="83327"/>
                  </a:lnTo>
                  <a:lnTo>
                    <a:pt x="33235" y="30562"/>
                  </a:lnTo>
                  <a:lnTo>
                    <a:pt x="122455" y="30562"/>
                  </a:lnTo>
                  <a:lnTo>
                    <a:pt x="122455" y="0"/>
                  </a:lnTo>
                  <a:lnTo>
                    <a:pt x="0" y="0"/>
                  </a:lnTo>
                  <a:close/>
                </a:path>
              </a:pathLst>
            </a:custGeom>
            <a:grpFill/>
            <a:ln w="6853"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CDEEB691-8710-4322-806E-E69F81A5E418}"/>
                </a:ext>
              </a:extLst>
            </p:cNvPr>
            <p:cNvSpPr/>
            <p:nvPr/>
          </p:nvSpPr>
          <p:spPr>
            <a:xfrm>
              <a:off x="9998097" y="560843"/>
              <a:ext cx="185908" cy="190705"/>
            </a:xfrm>
            <a:custGeom>
              <a:avLst/>
              <a:gdLst>
                <a:gd name="connsiteX0" fmla="*/ 151098 w 185908"/>
                <a:gd name="connsiteY0" fmla="*/ 0 h 190705"/>
                <a:gd name="connsiteX1" fmla="*/ 93263 w 185908"/>
                <a:gd name="connsiteY1" fmla="*/ 128622 h 190705"/>
                <a:gd name="connsiteX2" fmla="*/ 35633 w 185908"/>
                <a:gd name="connsiteY2" fmla="*/ 0 h 190705"/>
                <a:gd name="connsiteX3" fmla="*/ 0 w 185908"/>
                <a:gd name="connsiteY3" fmla="*/ 0 h 190705"/>
                <a:gd name="connsiteX4" fmla="*/ 87301 w 185908"/>
                <a:gd name="connsiteY4" fmla="*/ 190706 h 190705"/>
                <a:gd name="connsiteX5" fmla="*/ 98608 w 185908"/>
                <a:gd name="connsiteY5" fmla="*/ 190706 h 190705"/>
                <a:gd name="connsiteX6" fmla="*/ 185909 w 185908"/>
                <a:gd name="connsiteY6" fmla="*/ 0 h 190705"/>
                <a:gd name="connsiteX7" fmla="*/ 151098 w 185908"/>
                <a:gd name="connsiteY7" fmla="*/ 0 h 190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908" h="190705">
                  <a:moveTo>
                    <a:pt x="151098" y="0"/>
                  </a:moveTo>
                  <a:lnTo>
                    <a:pt x="93263" y="128622"/>
                  </a:lnTo>
                  <a:lnTo>
                    <a:pt x="35633" y="0"/>
                  </a:lnTo>
                  <a:lnTo>
                    <a:pt x="0" y="0"/>
                  </a:lnTo>
                  <a:lnTo>
                    <a:pt x="87301" y="190706"/>
                  </a:lnTo>
                  <a:lnTo>
                    <a:pt x="98608" y="190706"/>
                  </a:lnTo>
                  <a:lnTo>
                    <a:pt x="185909" y="0"/>
                  </a:lnTo>
                  <a:lnTo>
                    <a:pt x="151098" y="0"/>
                  </a:lnTo>
                  <a:close/>
                </a:path>
              </a:pathLst>
            </a:custGeom>
            <a:grpFill/>
            <a:ln w="6853"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290779BC-95C9-40DF-AA48-4CE05FA0B9EE}"/>
                </a:ext>
              </a:extLst>
            </p:cNvPr>
            <p:cNvSpPr/>
            <p:nvPr/>
          </p:nvSpPr>
          <p:spPr>
            <a:xfrm>
              <a:off x="10165231" y="559199"/>
              <a:ext cx="184606" cy="190020"/>
            </a:xfrm>
            <a:custGeom>
              <a:avLst/>
              <a:gdLst>
                <a:gd name="connsiteX0" fmla="*/ 90701 w 184606"/>
                <a:gd name="connsiteY0" fmla="*/ 60490 h 190020"/>
                <a:gd name="connsiteX1" fmla="*/ 119345 w 184606"/>
                <a:gd name="connsiteY1" fmla="*/ 125314 h 190020"/>
                <a:gd name="connsiteX2" fmla="*/ 61989 w 184606"/>
                <a:gd name="connsiteY2" fmla="*/ 125314 h 190020"/>
                <a:gd name="connsiteX3" fmla="*/ 87481 w 184606"/>
                <a:gd name="connsiteY3" fmla="*/ -635 h 190020"/>
                <a:gd name="connsiteX4" fmla="*/ -985 w 184606"/>
                <a:gd name="connsiteY4" fmla="*/ 189385 h 190020"/>
                <a:gd name="connsiteX5" fmla="*/ 33826 w 184606"/>
                <a:gd name="connsiteY5" fmla="*/ 189385 h 190020"/>
                <a:gd name="connsiteX6" fmla="*/ 50203 w 184606"/>
                <a:gd name="connsiteY6" fmla="*/ 151833 h 190020"/>
                <a:gd name="connsiteX7" fmla="*/ 131131 w 184606"/>
                <a:gd name="connsiteY7" fmla="*/ 151833 h 190020"/>
                <a:gd name="connsiteX8" fmla="*/ 147714 w 184606"/>
                <a:gd name="connsiteY8" fmla="*/ 189385 h 190020"/>
                <a:gd name="connsiteX9" fmla="*/ 183622 w 184606"/>
                <a:gd name="connsiteY9" fmla="*/ 189385 h 190020"/>
                <a:gd name="connsiteX10" fmla="*/ 95155 w 184606"/>
                <a:gd name="connsiteY10" fmla="*/ -635 h 19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4606" h="190020">
                  <a:moveTo>
                    <a:pt x="90701" y="60490"/>
                  </a:moveTo>
                  <a:lnTo>
                    <a:pt x="119345" y="125314"/>
                  </a:lnTo>
                  <a:lnTo>
                    <a:pt x="61989" y="125314"/>
                  </a:lnTo>
                  <a:close/>
                  <a:moveTo>
                    <a:pt x="87481" y="-635"/>
                  </a:moveTo>
                  <a:lnTo>
                    <a:pt x="-985" y="189385"/>
                  </a:lnTo>
                  <a:lnTo>
                    <a:pt x="33826" y="189385"/>
                  </a:lnTo>
                  <a:lnTo>
                    <a:pt x="50203" y="151833"/>
                  </a:lnTo>
                  <a:lnTo>
                    <a:pt x="131131" y="151833"/>
                  </a:lnTo>
                  <a:lnTo>
                    <a:pt x="147714" y="189385"/>
                  </a:lnTo>
                  <a:lnTo>
                    <a:pt x="183622" y="189385"/>
                  </a:lnTo>
                  <a:lnTo>
                    <a:pt x="95155" y="-635"/>
                  </a:lnTo>
                  <a:close/>
                </a:path>
              </a:pathLst>
            </a:custGeom>
            <a:grpFill/>
            <a:ln w="6853"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BA4860F-3F0D-4929-8566-E5959309DE7F}"/>
                </a:ext>
              </a:extLst>
            </p:cNvPr>
            <p:cNvSpPr/>
            <p:nvPr/>
          </p:nvSpPr>
          <p:spPr>
            <a:xfrm>
              <a:off x="10381222" y="560843"/>
              <a:ext cx="122385" cy="188307"/>
            </a:xfrm>
            <a:custGeom>
              <a:avLst/>
              <a:gdLst>
                <a:gd name="connsiteX0" fmla="*/ 0 w 122385"/>
                <a:gd name="connsiteY0" fmla="*/ 0 h 188307"/>
                <a:gd name="connsiteX1" fmla="*/ 0 w 122385"/>
                <a:gd name="connsiteY1" fmla="*/ 188307 h 188307"/>
                <a:gd name="connsiteX2" fmla="*/ 122386 w 122385"/>
                <a:gd name="connsiteY2" fmla="*/ 188307 h 188307"/>
                <a:gd name="connsiteX3" fmla="*/ 122386 w 122385"/>
                <a:gd name="connsiteY3" fmla="*/ 157813 h 188307"/>
                <a:gd name="connsiteX4" fmla="*/ 33166 w 122385"/>
                <a:gd name="connsiteY4" fmla="*/ 157813 h 188307"/>
                <a:gd name="connsiteX5" fmla="*/ 33166 w 122385"/>
                <a:gd name="connsiteY5" fmla="*/ 0 h 188307"/>
                <a:gd name="connsiteX6" fmla="*/ 0 w 122385"/>
                <a:gd name="connsiteY6" fmla="*/ 0 h 18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85" h="188307">
                  <a:moveTo>
                    <a:pt x="0" y="0"/>
                  </a:moveTo>
                  <a:lnTo>
                    <a:pt x="0" y="188307"/>
                  </a:lnTo>
                  <a:lnTo>
                    <a:pt x="122386" y="188307"/>
                  </a:lnTo>
                  <a:lnTo>
                    <a:pt x="122386" y="157813"/>
                  </a:lnTo>
                  <a:lnTo>
                    <a:pt x="33166" y="157813"/>
                  </a:lnTo>
                  <a:lnTo>
                    <a:pt x="33166" y="0"/>
                  </a:lnTo>
                  <a:lnTo>
                    <a:pt x="0" y="0"/>
                  </a:lnTo>
                  <a:close/>
                </a:path>
              </a:pathLst>
            </a:custGeom>
            <a:grpFill/>
            <a:ln w="6853"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B12E63F6-4AED-4FCC-B839-0821E5C1D558}"/>
                </a:ext>
              </a:extLst>
            </p:cNvPr>
            <p:cNvSpPr/>
            <p:nvPr/>
          </p:nvSpPr>
          <p:spPr>
            <a:xfrm>
              <a:off x="10530744" y="560844"/>
              <a:ext cx="157059" cy="191801"/>
            </a:xfrm>
            <a:custGeom>
              <a:avLst/>
              <a:gdLst>
                <a:gd name="connsiteX0" fmla="*/ -985 w 157059"/>
                <a:gd name="connsiteY0" fmla="*/ -635 h 191801"/>
                <a:gd name="connsiteX1" fmla="*/ 32250 w 157059"/>
                <a:gd name="connsiteY1" fmla="*/ -635 h 191801"/>
                <a:gd name="connsiteX2" fmla="*/ 32250 w 157059"/>
                <a:gd name="connsiteY2" fmla="*/ 109759 h 191801"/>
                <a:gd name="connsiteX3" fmla="*/ 76997 w 157059"/>
                <a:gd name="connsiteY3" fmla="*/ 160673 h 191801"/>
                <a:gd name="connsiteX4" fmla="*/ 122840 w 157059"/>
                <a:gd name="connsiteY4" fmla="*/ 109484 h 191801"/>
                <a:gd name="connsiteX5" fmla="*/ 122840 w 157059"/>
                <a:gd name="connsiteY5" fmla="*/ -635 h 191801"/>
                <a:gd name="connsiteX6" fmla="*/ 156074 w 157059"/>
                <a:gd name="connsiteY6" fmla="*/ -635 h 191801"/>
                <a:gd name="connsiteX7" fmla="*/ 156074 w 157059"/>
                <a:gd name="connsiteY7" fmla="*/ 109759 h 191801"/>
                <a:gd name="connsiteX8" fmla="*/ 76997 w 157059"/>
                <a:gd name="connsiteY8" fmla="*/ 191167 h 191801"/>
                <a:gd name="connsiteX9" fmla="*/ -985 w 157059"/>
                <a:gd name="connsiteY9" fmla="*/ 109759 h 19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059" h="191801">
                  <a:moveTo>
                    <a:pt x="-985" y="-635"/>
                  </a:moveTo>
                  <a:lnTo>
                    <a:pt x="32250" y="-635"/>
                  </a:lnTo>
                  <a:lnTo>
                    <a:pt x="32250" y="109759"/>
                  </a:lnTo>
                  <a:cubicBezTo>
                    <a:pt x="32250" y="145666"/>
                    <a:pt x="48627" y="160673"/>
                    <a:pt x="76997" y="160673"/>
                  </a:cubicBezTo>
                  <a:cubicBezTo>
                    <a:pt x="105366" y="160673"/>
                    <a:pt x="122840" y="145666"/>
                    <a:pt x="122840" y="109484"/>
                  </a:cubicBezTo>
                  <a:lnTo>
                    <a:pt x="122840" y="-635"/>
                  </a:lnTo>
                  <a:lnTo>
                    <a:pt x="156074" y="-635"/>
                  </a:lnTo>
                  <a:lnTo>
                    <a:pt x="156074" y="109759"/>
                  </a:lnTo>
                  <a:cubicBezTo>
                    <a:pt x="156074" y="166018"/>
                    <a:pt x="124142" y="191167"/>
                    <a:pt x="76997" y="191167"/>
                  </a:cubicBezTo>
                  <a:cubicBezTo>
                    <a:pt x="29851" y="191167"/>
                    <a:pt x="-985" y="166018"/>
                    <a:pt x="-985" y="109759"/>
                  </a:cubicBezTo>
                  <a:close/>
                </a:path>
              </a:pathLst>
            </a:custGeom>
            <a:grpFill/>
            <a:ln w="6853"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89E35D2B-5F84-4B67-AC50-4C6225985947}"/>
                </a:ext>
              </a:extLst>
            </p:cNvPr>
            <p:cNvSpPr/>
            <p:nvPr/>
          </p:nvSpPr>
          <p:spPr>
            <a:xfrm>
              <a:off x="10738717" y="560432"/>
              <a:ext cx="122454" cy="188375"/>
            </a:xfrm>
            <a:custGeom>
              <a:avLst/>
              <a:gdLst>
                <a:gd name="connsiteX0" fmla="*/ 0 w 122454"/>
                <a:gd name="connsiteY0" fmla="*/ 0 h 188375"/>
                <a:gd name="connsiteX1" fmla="*/ 0 w 122454"/>
                <a:gd name="connsiteY1" fmla="*/ 188376 h 188375"/>
                <a:gd name="connsiteX2" fmla="*/ 122454 w 122454"/>
                <a:gd name="connsiteY2" fmla="*/ 188376 h 188375"/>
                <a:gd name="connsiteX3" fmla="*/ 122454 w 122454"/>
                <a:gd name="connsiteY3" fmla="*/ 157813 h 188375"/>
                <a:gd name="connsiteX4" fmla="*/ 33235 w 122454"/>
                <a:gd name="connsiteY4" fmla="*/ 157813 h 188375"/>
                <a:gd name="connsiteX5" fmla="*/ 33235 w 122454"/>
                <a:gd name="connsiteY5" fmla="*/ 112792 h 188375"/>
                <a:gd name="connsiteX6" fmla="*/ 114094 w 122454"/>
                <a:gd name="connsiteY6" fmla="*/ 112792 h 188375"/>
                <a:gd name="connsiteX7" fmla="*/ 114094 w 122454"/>
                <a:gd name="connsiteY7" fmla="*/ 83327 h 188375"/>
                <a:gd name="connsiteX8" fmla="*/ 33235 w 122454"/>
                <a:gd name="connsiteY8" fmla="*/ 83327 h 188375"/>
                <a:gd name="connsiteX9" fmla="*/ 33235 w 122454"/>
                <a:gd name="connsiteY9" fmla="*/ 30562 h 188375"/>
                <a:gd name="connsiteX10" fmla="*/ 122454 w 122454"/>
                <a:gd name="connsiteY10" fmla="*/ 30562 h 188375"/>
                <a:gd name="connsiteX11" fmla="*/ 122454 w 122454"/>
                <a:gd name="connsiteY11" fmla="*/ 0 h 188375"/>
                <a:gd name="connsiteX12" fmla="*/ 0 w 122454"/>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75">
                  <a:moveTo>
                    <a:pt x="0" y="0"/>
                  </a:moveTo>
                  <a:lnTo>
                    <a:pt x="0" y="188376"/>
                  </a:lnTo>
                  <a:lnTo>
                    <a:pt x="122454" y="188376"/>
                  </a:lnTo>
                  <a:lnTo>
                    <a:pt x="122454" y="157813"/>
                  </a:lnTo>
                  <a:lnTo>
                    <a:pt x="33235" y="157813"/>
                  </a:lnTo>
                  <a:lnTo>
                    <a:pt x="33235" y="112792"/>
                  </a:lnTo>
                  <a:lnTo>
                    <a:pt x="114094" y="112792"/>
                  </a:lnTo>
                  <a:lnTo>
                    <a:pt x="114094" y="83327"/>
                  </a:lnTo>
                  <a:lnTo>
                    <a:pt x="33235" y="83327"/>
                  </a:lnTo>
                  <a:lnTo>
                    <a:pt x="33235" y="30562"/>
                  </a:lnTo>
                  <a:lnTo>
                    <a:pt x="122454" y="30562"/>
                  </a:lnTo>
                  <a:lnTo>
                    <a:pt x="122454" y="0"/>
                  </a:lnTo>
                  <a:lnTo>
                    <a:pt x="0" y="0"/>
                  </a:lnTo>
                  <a:close/>
                </a:path>
              </a:pathLst>
            </a:custGeom>
            <a:grpFill/>
            <a:ln w="6853"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0EF39E0A-23A7-4A8E-BDFE-97F0DF77FD04}"/>
                </a:ext>
              </a:extLst>
            </p:cNvPr>
            <p:cNvSpPr/>
            <p:nvPr/>
          </p:nvSpPr>
          <p:spPr>
            <a:xfrm>
              <a:off x="10903178" y="557074"/>
              <a:ext cx="128896" cy="194954"/>
            </a:xfrm>
            <a:custGeom>
              <a:avLst/>
              <a:gdLst>
                <a:gd name="connsiteX0" fmla="*/ 60688 w 128896"/>
                <a:gd name="connsiteY0" fmla="*/ 194319 h 194954"/>
                <a:gd name="connsiteX1" fmla="*/ -985 w 128896"/>
                <a:gd name="connsiteY1" fmla="*/ 176366 h 194954"/>
                <a:gd name="connsiteX2" fmla="*/ 10528 w 128896"/>
                <a:gd name="connsiteY2" fmla="*/ 146352 h 194954"/>
                <a:gd name="connsiteX3" fmla="*/ 61716 w 128896"/>
                <a:gd name="connsiteY3" fmla="*/ 163209 h 194954"/>
                <a:gd name="connsiteX4" fmla="*/ 94060 w 128896"/>
                <a:gd name="connsiteY4" fmla="*/ 140185 h 194954"/>
                <a:gd name="connsiteX5" fmla="*/ 52944 w 128896"/>
                <a:gd name="connsiteY5" fmla="*/ 107498 h 194954"/>
                <a:gd name="connsiteX6" fmla="*/ 3607 w 128896"/>
                <a:gd name="connsiteY6" fmla="*/ 54185 h 194954"/>
                <a:gd name="connsiteX7" fmla="*/ 66855 w 128896"/>
                <a:gd name="connsiteY7" fmla="*/ -635 h 194954"/>
                <a:gd name="connsiteX8" fmla="*/ 118797 w 128896"/>
                <a:gd name="connsiteY8" fmla="*/ 12248 h 194954"/>
                <a:gd name="connsiteX9" fmla="*/ 108108 w 128896"/>
                <a:gd name="connsiteY9" fmla="*/ 41713 h 194954"/>
                <a:gd name="connsiteX10" fmla="*/ 66033 w 128896"/>
                <a:gd name="connsiteY10" fmla="*/ 29105 h 194954"/>
                <a:gd name="connsiteX11" fmla="*/ 37116 w 128896"/>
                <a:gd name="connsiteY11" fmla="*/ 53226 h 194954"/>
                <a:gd name="connsiteX12" fmla="*/ 73776 w 128896"/>
                <a:gd name="connsiteY12" fmla="*/ 82417 h 194954"/>
                <a:gd name="connsiteX13" fmla="*/ 127911 w 128896"/>
                <a:gd name="connsiteY13" fmla="*/ 140047 h 194954"/>
                <a:gd name="connsiteX14" fmla="*/ 60413 w 128896"/>
                <a:gd name="connsiteY14" fmla="*/ 194182 h 194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8896" h="194954">
                  <a:moveTo>
                    <a:pt x="60688" y="194319"/>
                  </a:moveTo>
                  <a:cubicBezTo>
                    <a:pt x="38896" y="193949"/>
                    <a:pt x="17585" y="187748"/>
                    <a:pt x="-985" y="176366"/>
                  </a:cubicBezTo>
                  <a:lnTo>
                    <a:pt x="10528" y="146352"/>
                  </a:lnTo>
                  <a:cubicBezTo>
                    <a:pt x="25603" y="156747"/>
                    <a:pt x="43419" y="162599"/>
                    <a:pt x="61716" y="163209"/>
                  </a:cubicBezTo>
                  <a:cubicBezTo>
                    <a:pt x="83918" y="163209"/>
                    <a:pt x="94060" y="152245"/>
                    <a:pt x="94060" y="140185"/>
                  </a:cubicBezTo>
                  <a:cubicBezTo>
                    <a:pt x="94060" y="128124"/>
                    <a:pt x="87207" y="120038"/>
                    <a:pt x="52944" y="107498"/>
                  </a:cubicBezTo>
                  <a:cubicBezTo>
                    <a:pt x="16215" y="93793"/>
                    <a:pt x="3607" y="76662"/>
                    <a:pt x="3607" y="54185"/>
                  </a:cubicBezTo>
                  <a:cubicBezTo>
                    <a:pt x="3607" y="25747"/>
                    <a:pt x="26631" y="-635"/>
                    <a:pt x="66855" y="-635"/>
                  </a:cubicBezTo>
                  <a:cubicBezTo>
                    <a:pt x="84946" y="-669"/>
                    <a:pt x="102831" y="3757"/>
                    <a:pt x="118797" y="12248"/>
                  </a:cubicBezTo>
                  <a:lnTo>
                    <a:pt x="108108" y="41713"/>
                  </a:lnTo>
                  <a:cubicBezTo>
                    <a:pt x="95293" y="34265"/>
                    <a:pt x="80834" y="29948"/>
                    <a:pt x="66033" y="29105"/>
                  </a:cubicBezTo>
                  <a:cubicBezTo>
                    <a:pt x="46229" y="29105"/>
                    <a:pt x="37116" y="40138"/>
                    <a:pt x="37116" y="53226"/>
                  </a:cubicBezTo>
                  <a:cubicBezTo>
                    <a:pt x="37116" y="66314"/>
                    <a:pt x="47257" y="72824"/>
                    <a:pt x="73776" y="82417"/>
                  </a:cubicBezTo>
                  <a:cubicBezTo>
                    <a:pt x="115851" y="98795"/>
                    <a:pt x="127911" y="115378"/>
                    <a:pt x="127911" y="140047"/>
                  </a:cubicBezTo>
                  <a:cubicBezTo>
                    <a:pt x="127911" y="173556"/>
                    <a:pt x="102488" y="194182"/>
                    <a:pt x="60413" y="194182"/>
                  </a:cubicBezTo>
                </a:path>
              </a:pathLst>
            </a:custGeom>
            <a:grpFill/>
            <a:ln w="6853"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F46E1330-2734-4879-8F37-EB6C19D791BB}"/>
                </a:ext>
              </a:extLst>
            </p:cNvPr>
            <p:cNvSpPr/>
            <p:nvPr/>
          </p:nvSpPr>
          <p:spPr>
            <a:xfrm>
              <a:off x="11078876" y="560432"/>
              <a:ext cx="122523" cy="188375"/>
            </a:xfrm>
            <a:custGeom>
              <a:avLst/>
              <a:gdLst>
                <a:gd name="connsiteX0" fmla="*/ 0 w 122523"/>
                <a:gd name="connsiteY0" fmla="*/ 0 h 188375"/>
                <a:gd name="connsiteX1" fmla="*/ 0 w 122523"/>
                <a:gd name="connsiteY1" fmla="*/ 188376 h 188375"/>
                <a:gd name="connsiteX2" fmla="*/ 122523 w 122523"/>
                <a:gd name="connsiteY2" fmla="*/ 188376 h 188375"/>
                <a:gd name="connsiteX3" fmla="*/ 122523 w 122523"/>
                <a:gd name="connsiteY3" fmla="*/ 157813 h 188375"/>
                <a:gd name="connsiteX4" fmla="*/ 33303 w 122523"/>
                <a:gd name="connsiteY4" fmla="*/ 157813 h 188375"/>
                <a:gd name="connsiteX5" fmla="*/ 33303 w 122523"/>
                <a:gd name="connsiteY5" fmla="*/ 112792 h 188375"/>
                <a:gd name="connsiteX6" fmla="*/ 114163 w 122523"/>
                <a:gd name="connsiteY6" fmla="*/ 112792 h 188375"/>
                <a:gd name="connsiteX7" fmla="*/ 114163 w 122523"/>
                <a:gd name="connsiteY7" fmla="*/ 83327 h 188375"/>
                <a:gd name="connsiteX8" fmla="*/ 33303 w 122523"/>
                <a:gd name="connsiteY8" fmla="*/ 83327 h 188375"/>
                <a:gd name="connsiteX9" fmla="*/ 33303 w 122523"/>
                <a:gd name="connsiteY9" fmla="*/ 30562 h 188375"/>
                <a:gd name="connsiteX10" fmla="*/ 122523 w 122523"/>
                <a:gd name="connsiteY10" fmla="*/ 30562 h 188375"/>
                <a:gd name="connsiteX11" fmla="*/ 122523 w 122523"/>
                <a:gd name="connsiteY11" fmla="*/ 0 h 188375"/>
                <a:gd name="connsiteX12" fmla="*/ 0 w 122523"/>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523" h="188375">
                  <a:moveTo>
                    <a:pt x="0" y="0"/>
                  </a:moveTo>
                  <a:lnTo>
                    <a:pt x="0" y="188376"/>
                  </a:lnTo>
                  <a:lnTo>
                    <a:pt x="122523" y="188376"/>
                  </a:lnTo>
                  <a:lnTo>
                    <a:pt x="122523" y="157813"/>
                  </a:lnTo>
                  <a:lnTo>
                    <a:pt x="33303" y="157813"/>
                  </a:lnTo>
                  <a:lnTo>
                    <a:pt x="33303" y="112792"/>
                  </a:lnTo>
                  <a:lnTo>
                    <a:pt x="114163" y="112792"/>
                  </a:lnTo>
                  <a:lnTo>
                    <a:pt x="114163" y="83327"/>
                  </a:lnTo>
                  <a:lnTo>
                    <a:pt x="33303" y="83327"/>
                  </a:lnTo>
                  <a:lnTo>
                    <a:pt x="33303" y="30562"/>
                  </a:lnTo>
                  <a:lnTo>
                    <a:pt x="122523" y="30562"/>
                  </a:lnTo>
                  <a:lnTo>
                    <a:pt x="122523" y="0"/>
                  </a:lnTo>
                  <a:lnTo>
                    <a:pt x="0" y="0"/>
                  </a:lnTo>
                  <a:close/>
                </a:path>
              </a:pathLst>
            </a:custGeom>
            <a:grpFill/>
            <a:ln w="6853"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32ED1C32-8954-4DC5-8742-722004C6AC5D}"/>
                </a:ext>
              </a:extLst>
            </p:cNvPr>
            <p:cNvSpPr/>
            <p:nvPr/>
          </p:nvSpPr>
          <p:spPr>
            <a:xfrm>
              <a:off x="11251971" y="560432"/>
              <a:ext cx="148767" cy="189412"/>
            </a:xfrm>
            <a:custGeom>
              <a:avLst/>
              <a:gdLst>
                <a:gd name="connsiteX0" fmla="*/ 32250 w 148767"/>
                <a:gd name="connsiteY0" fmla="*/ 29927 h 189412"/>
                <a:gd name="connsiteX1" fmla="*/ 32250 w 148767"/>
                <a:gd name="connsiteY1" fmla="*/ 103592 h 189412"/>
                <a:gd name="connsiteX2" fmla="*/ 56919 w 148767"/>
                <a:gd name="connsiteY2" fmla="*/ 103592 h 189412"/>
                <a:gd name="connsiteX3" fmla="*/ 98719 w 148767"/>
                <a:gd name="connsiteY3" fmla="*/ 66383 h 189412"/>
                <a:gd name="connsiteX4" fmla="*/ 56919 w 148767"/>
                <a:gd name="connsiteY4" fmla="*/ 29927 h 189412"/>
                <a:gd name="connsiteX5" fmla="*/ -985 w 148767"/>
                <a:gd name="connsiteY5" fmla="*/ -635 h 189412"/>
                <a:gd name="connsiteX6" fmla="*/ 59317 w 148767"/>
                <a:gd name="connsiteY6" fmla="*/ -635 h 189412"/>
                <a:gd name="connsiteX7" fmla="*/ 134694 w 148767"/>
                <a:gd name="connsiteY7" fmla="*/ 66383 h 189412"/>
                <a:gd name="connsiteX8" fmla="*/ 99610 w 148767"/>
                <a:gd name="connsiteY8" fmla="*/ 125862 h 189412"/>
                <a:gd name="connsiteX9" fmla="*/ 140314 w 148767"/>
                <a:gd name="connsiteY9" fmla="*/ 157727 h 189412"/>
                <a:gd name="connsiteX10" fmla="*/ 147783 w 148767"/>
                <a:gd name="connsiteY10" fmla="*/ 157727 h 189412"/>
                <a:gd name="connsiteX11" fmla="*/ 147783 w 148767"/>
                <a:gd name="connsiteY11" fmla="*/ 187192 h 189412"/>
                <a:gd name="connsiteX12" fmla="*/ 129829 w 148767"/>
                <a:gd name="connsiteY12" fmla="*/ 188768 h 189412"/>
                <a:gd name="connsiteX13" fmla="*/ 62880 w 148767"/>
                <a:gd name="connsiteY13" fmla="*/ 132783 h 189412"/>
                <a:gd name="connsiteX14" fmla="*/ 52944 w 148767"/>
                <a:gd name="connsiteY14" fmla="*/ 132783 h 189412"/>
                <a:gd name="connsiteX15" fmla="*/ 32387 w 148767"/>
                <a:gd name="connsiteY15" fmla="*/ 132783 h 189412"/>
                <a:gd name="connsiteX16" fmla="*/ 32387 w 148767"/>
                <a:gd name="connsiteY16" fmla="*/ 187604 h 189412"/>
                <a:gd name="connsiteX17" fmla="*/ -848 w 148767"/>
                <a:gd name="connsiteY17" fmla="*/ 187604 h 189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8767" h="189412">
                  <a:moveTo>
                    <a:pt x="32250" y="29927"/>
                  </a:moveTo>
                  <a:lnTo>
                    <a:pt x="32250" y="103592"/>
                  </a:lnTo>
                  <a:lnTo>
                    <a:pt x="56919" y="103592"/>
                  </a:lnTo>
                  <a:cubicBezTo>
                    <a:pt x="87961" y="103592"/>
                    <a:pt x="98719" y="87009"/>
                    <a:pt x="98719" y="66383"/>
                  </a:cubicBezTo>
                  <a:cubicBezTo>
                    <a:pt x="98719" y="45756"/>
                    <a:pt x="88235" y="29927"/>
                    <a:pt x="56919" y="29927"/>
                  </a:cubicBezTo>
                  <a:close/>
                  <a:moveTo>
                    <a:pt x="-985" y="-635"/>
                  </a:moveTo>
                  <a:lnTo>
                    <a:pt x="59317" y="-635"/>
                  </a:lnTo>
                  <a:cubicBezTo>
                    <a:pt x="109409" y="-635"/>
                    <a:pt x="134694" y="26775"/>
                    <a:pt x="134694" y="66383"/>
                  </a:cubicBezTo>
                  <a:cubicBezTo>
                    <a:pt x="134832" y="91154"/>
                    <a:pt x="121332" y="113994"/>
                    <a:pt x="99610" y="125862"/>
                  </a:cubicBezTo>
                  <a:cubicBezTo>
                    <a:pt x="113795" y="138128"/>
                    <a:pt x="117769" y="157727"/>
                    <a:pt x="140314" y="157727"/>
                  </a:cubicBezTo>
                  <a:lnTo>
                    <a:pt x="147783" y="157727"/>
                  </a:lnTo>
                  <a:lnTo>
                    <a:pt x="147783" y="187192"/>
                  </a:lnTo>
                  <a:cubicBezTo>
                    <a:pt x="141890" y="188323"/>
                    <a:pt x="135860" y="188851"/>
                    <a:pt x="129829" y="188768"/>
                  </a:cubicBezTo>
                  <a:cubicBezTo>
                    <a:pt x="82958" y="188768"/>
                    <a:pt x="85631" y="145666"/>
                    <a:pt x="62880" y="132783"/>
                  </a:cubicBezTo>
                  <a:cubicBezTo>
                    <a:pt x="59660" y="132783"/>
                    <a:pt x="56439" y="132783"/>
                    <a:pt x="52944" y="132783"/>
                  </a:cubicBezTo>
                  <a:lnTo>
                    <a:pt x="32387" y="132783"/>
                  </a:lnTo>
                  <a:lnTo>
                    <a:pt x="32387" y="187604"/>
                  </a:lnTo>
                  <a:lnTo>
                    <a:pt x="-848" y="187604"/>
                  </a:lnTo>
                  <a:close/>
                </a:path>
              </a:pathLst>
            </a:custGeom>
            <a:grpFill/>
            <a:ln w="6853"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4D9BA3F8-B706-48D2-84A5-BAF60046424E}"/>
                </a:ext>
              </a:extLst>
            </p:cNvPr>
            <p:cNvSpPr/>
            <p:nvPr/>
          </p:nvSpPr>
          <p:spPr>
            <a:xfrm>
              <a:off x="11411155" y="560432"/>
              <a:ext cx="185977" cy="190774"/>
            </a:xfrm>
            <a:custGeom>
              <a:avLst/>
              <a:gdLst>
                <a:gd name="connsiteX0" fmla="*/ 151098 w 185977"/>
                <a:gd name="connsiteY0" fmla="*/ 0 h 190774"/>
                <a:gd name="connsiteX1" fmla="*/ 93263 w 185977"/>
                <a:gd name="connsiteY1" fmla="*/ 128622 h 190774"/>
                <a:gd name="connsiteX2" fmla="*/ 35633 w 185977"/>
                <a:gd name="connsiteY2" fmla="*/ 0 h 190774"/>
                <a:gd name="connsiteX3" fmla="*/ 0 w 185977"/>
                <a:gd name="connsiteY3" fmla="*/ 0 h 190774"/>
                <a:gd name="connsiteX4" fmla="*/ 87370 w 185977"/>
                <a:gd name="connsiteY4" fmla="*/ 190774 h 190774"/>
                <a:gd name="connsiteX5" fmla="*/ 98608 w 185977"/>
                <a:gd name="connsiteY5" fmla="*/ 190774 h 190774"/>
                <a:gd name="connsiteX6" fmla="*/ 185977 w 185977"/>
                <a:gd name="connsiteY6" fmla="*/ 0 h 190774"/>
                <a:gd name="connsiteX7" fmla="*/ 151098 w 185977"/>
                <a:gd name="connsiteY7" fmla="*/ 0 h 19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977" h="190774">
                  <a:moveTo>
                    <a:pt x="151098" y="0"/>
                  </a:moveTo>
                  <a:lnTo>
                    <a:pt x="93263" y="128622"/>
                  </a:lnTo>
                  <a:lnTo>
                    <a:pt x="35633" y="0"/>
                  </a:lnTo>
                  <a:lnTo>
                    <a:pt x="0" y="0"/>
                  </a:lnTo>
                  <a:lnTo>
                    <a:pt x="87370" y="190774"/>
                  </a:lnTo>
                  <a:lnTo>
                    <a:pt x="98608" y="190774"/>
                  </a:lnTo>
                  <a:lnTo>
                    <a:pt x="185977" y="0"/>
                  </a:lnTo>
                  <a:lnTo>
                    <a:pt x="151098" y="0"/>
                  </a:lnTo>
                  <a:close/>
                </a:path>
              </a:pathLst>
            </a:custGeom>
            <a:grpFill/>
            <a:ln w="6853"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34C49746-C7B2-49F5-9848-5ED10587F0C5}"/>
                </a:ext>
              </a:extLst>
            </p:cNvPr>
            <p:cNvSpPr/>
            <p:nvPr/>
          </p:nvSpPr>
          <p:spPr>
            <a:xfrm>
              <a:off x="11631395" y="560432"/>
              <a:ext cx="122454" cy="188375"/>
            </a:xfrm>
            <a:custGeom>
              <a:avLst/>
              <a:gdLst>
                <a:gd name="connsiteX0" fmla="*/ 0 w 122454"/>
                <a:gd name="connsiteY0" fmla="*/ 0 h 188375"/>
                <a:gd name="connsiteX1" fmla="*/ 0 w 122454"/>
                <a:gd name="connsiteY1" fmla="*/ 188376 h 188375"/>
                <a:gd name="connsiteX2" fmla="*/ 122454 w 122454"/>
                <a:gd name="connsiteY2" fmla="*/ 188376 h 188375"/>
                <a:gd name="connsiteX3" fmla="*/ 122454 w 122454"/>
                <a:gd name="connsiteY3" fmla="*/ 157813 h 188375"/>
                <a:gd name="connsiteX4" fmla="*/ 33235 w 122454"/>
                <a:gd name="connsiteY4" fmla="*/ 157813 h 188375"/>
                <a:gd name="connsiteX5" fmla="*/ 33235 w 122454"/>
                <a:gd name="connsiteY5" fmla="*/ 112792 h 188375"/>
                <a:gd name="connsiteX6" fmla="*/ 114163 w 122454"/>
                <a:gd name="connsiteY6" fmla="*/ 112792 h 188375"/>
                <a:gd name="connsiteX7" fmla="*/ 114163 w 122454"/>
                <a:gd name="connsiteY7" fmla="*/ 83327 h 188375"/>
                <a:gd name="connsiteX8" fmla="*/ 33235 w 122454"/>
                <a:gd name="connsiteY8" fmla="*/ 83327 h 188375"/>
                <a:gd name="connsiteX9" fmla="*/ 33235 w 122454"/>
                <a:gd name="connsiteY9" fmla="*/ 30562 h 188375"/>
                <a:gd name="connsiteX10" fmla="*/ 122454 w 122454"/>
                <a:gd name="connsiteY10" fmla="*/ 30562 h 188375"/>
                <a:gd name="connsiteX11" fmla="*/ 122454 w 122454"/>
                <a:gd name="connsiteY11" fmla="*/ 0 h 188375"/>
                <a:gd name="connsiteX12" fmla="*/ 0 w 122454"/>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75">
                  <a:moveTo>
                    <a:pt x="0" y="0"/>
                  </a:moveTo>
                  <a:lnTo>
                    <a:pt x="0" y="188376"/>
                  </a:lnTo>
                  <a:lnTo>
                    <a:pt x="122454" y="188376"/>
                  </a:lnTo>
                  <a:lnTo>
                    <a:pt x="122454" y="157813"/>
                  </a:lnTo>
                  <a:lnTo>
                    <a:pt x="33235" y="157813"/>
                  </a:lnTo>
                  <a:lnTo>
                    <a:pt x="33235" y="112792"/>
                  </a:lnTo>
                  <a:lnTo>
                    <a:pt x="114163" y="112792"/>
                  </a:lnTo>
                  <a:lnTo>
                    <a:pt x="114163" y="83327"/>
                  </a:lnTo>
                  <a:lnTo>
                    <a:pt x="33235" y="83327"/>
                  </a:lnTo>
                  <a:lnTo>
                    <a:pt x="33235" y="30562"/>
                  </a:lnTo>
                  <a:lnTo>
                    <a:pt x="122454" y="30562"/>
                  </a:lnTo>
                  <a:lnTo>
                    <a:pt x="122454" y="0"/>
                  </a:lnTo>
                  <a:lnTo>
                    <a:pt x="0" y="0"/>
                  </a:lnTo>
                  <a:close/>
                </a:path>
              </a:pathLst>
            </a:custGeom>
            <a:grpFill/>
            <a:ln w="6853" cap="flat">
              <a:noFill/>
              <a:prstDash val="solid"/>
              <a:miter/>
            </a:ln>
          </p:spPr>
          <p:txBody>
            <a:bodyPr rtlCol="0" anchor="ctr"/>
            <a:lstStyle/>
            <a:p>
              <a:endParaRPr lang="en-GB"/>
            </a:p>
          </p:txBody>
        </p:sp>
      </p:grpSp>
      <p:sp>
        <p:nvSpPr>
          <p:cNvPr id="24" name="Picture Placeholder 6">
            <a:extLst>
              <a:ext uri="{FF2B5EF4-FFF2-40B4-BE49-F238E27FC236}">
                <a16:creationId xmlns:a16="http://schemas.microsoft.com/office/drawing/2014/main" id="{0B64978E-A3A5-41EF-A538-9F123ECC69B9}"/>
              </a:ext>
            </a:extLst>
          </p:cNvPr>
          <p:cNvSpPr>
            <a:spLocks noGrp="1"/>
          </p:cNvSpPr>
          <p:nvPr>
            <p:ph type="pic" sz="quarter" idx="10"/>
          </p:nvPr>
        </p:nvSpPr>
        <p:spPr>
          <a:xfrm>
            <a:off x="571500" y="5826125"/>
            <a:ext cx="2093913" cy="650875"/>
          </a:xfrm>
        </p:spPr>
        <p:txBody>
          <a:bodyPr/>
          <a:lstStyle>
            <a:lvl1pPr marL="0" indent="0">
              <a:buFontTx/>
              <a:buNone/>
              <a:defRPr>
                <a:solidFill>
                  <a:schemeClr val="bg1"/>
                </a:solidFill>
              </a:defRPr>
            </a:lvl1pPr>
          </a:lstStyle>
          <a:p>
            <a:endParaRPr lang="en-IN"/>
          </a:p>
        </p:txBody>
      </p:sp>
      <p:sp>
        <p:nvSpPr>
          <p:cNvPr id="27" name="Subtitle 2">
            <a:extLst>
              <a:ext uri="{FF2B5EF4-FFF2-40B4-BE49-F238E27FC236}">
                <a16:creationId xmlns:a16="http://schemas.microsoft.com/office/drawing/2014/main" id="{335A6CA3-7C93-4FB6-BB04-305277527F56}"/>
              </a:ext>
            </a:extLst>
          </p:cNvPr>
          <p:cNvSpPr>
            <a:spLocks noGrp="1"/>
          </p:cNvSpPr>
          <p:nvPr>
            <p:ph type="subTitle" idx="1" hasCustomPrompt="1"/>
          </p:nvPr>
        </p:nvSpPr>
        <p:spPr>
          <a:xfrm>
            <a:off x="603272" y="4227545"/>
            <a:ext cx="5140303" cy="1258455"/>
          </a:xfrm>
        </p:spPr>
        <p:txBody>
          <a:bodyPr lIns="0" rIns="0">
            <a:normAutofit/>
          </a:bodyPr>
          <a:lstStyle>
            <a:lvl1pPr marL="0" indent="0" algn="l">
              <a:buNone/>
              <a:defRPr sz="1600" b="0">
                <a:solidFill>
                  <a:schemeClr val="bg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p:txBody>
      </p:sp>
      <p:sp>
        <p:nvSpPr>
          <p:cNvPr id="28" name="Title 22">
            <a:extLst>
              <a:ext uri="{FF2B5EF4-FFF2-40B4-BE49-F238E27FC236}">
                <a16:creationId xmlns:a16="http://schemas.microsoft.com/office/drawing/2014/main" id="{0D9B62B0-67EC-483A-AE5C-9258D452F203}"/>
              </a:ext>
            </a:extLst>
          </p:cNvPr>
          <p:cNvSpPr>
            <a:spLocks noGrp="1"/>
          </p:cNvSpPr>
          <p:nvPr>
            <p:ph type="title" hasCustomPrompt="1"/>
          </p:nvPr>
        </p:nvSpPr>
        <p:spPr>
          <a:xfrm>
            <a:off x="587375" y="2225428"/>
            <a:ext cx="5156200" cy="1661993"/>
          </a:xfrm>
        </p:spPr>
        <p:txBody>
          <a:bodyPr vert="horz" lIns="0" tIns="0" rIns="0" bIns="0" anchor="b" anchorCtr="0">
            <a:spAutoFit/>
          </a:bodyPr>
          <a:lstStyle>
            <a:lvl1pPr algn="l" defTabSz="914400" rtl="0" eaLnBrk="1" latinLnBrk="0" hangingPunct="1">
              <a:lnSpc>
                <a:spcPct val="100000"/>
              </a:lnSpc>
              <a:spcBef>
                <a:spcPts val="100"/>
              </a:spcBef>
              <a:spcAft>
                <a:spcPts val="100"/>
              </a:spcAft>
              <a:buNone/>
              <a:defRPr lang="en-GB" sz="3600" b="1" kern="1200" dirty="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Title placeholder </a:t>
            </a:r>
            <a:r>
              <a:rPr lang="en-US" err="1"/>
              <a:t>alitori</a:t>
            </a:r>
            <a:r>
              <a:rPr lang="en-US"/>
              <a:t> </a:t>
            </a:r>
            <a:r>
              <a:rPr lang="en-US" err="1"/>
              <a:t>ut</a:t>
            </a:r>
            <a:r>
              <a:rPr lang="en-US"/>
              <a:t> </a:t>
            </a:r>
            <a:r>
              <a:rPr lang="en-US" err="1"/>
              <a:t>exeri</a:t>
            </a:r>
            <a:r>
              <a:rPr lang="en-US"/>
              <a:t> </a:t>
            </a:r>
            <a:r>
              <a:rPr lang="en-US" err="1"/>
              <a:t>bearitati</a:t>
            </a:r>
            <a:r>
              <a:rPr lang="en-US"/>
              <a:t> </a:t>
            </a:r>
            <a:r>
              <a:rPr lang="en-US" err="1"/>
              <a:t>ut</a:t>
            </a:r>
            <a:r>
              <a:rPr lang="en-US"/>
              <a:t> </a:t>
            </a:r>
            <a:r>
              <a:rPr lang="en-US" err="1"/>
              <a:t>volent</a:t>
            </a:r>
            <a:r>
              <a:rPr lang="en-US"/>
              <a:t> </a:t>
            </a:r>
            <a:r>
              <a:rPr lang="en-US" err="1"/>
              <a:t>lamusdae</a:t>
            </a:r>
            <a:r>
              <a:rPr lang="en-US"/>
              <a:t> es qui.</a:t>
            </a:r>
            <a:endParaRPr lang="en-GB"/>
          </a:p>
        </p:txBody>
      </p:sp>
    </p:spTree>
    <p:custDataLst>
      <p:tags r:id="rId1"/>
    </p:custDataLst>
    <p:extLst>
      <p:ext uri="{BB962C8B-B14F-4D97-AF65-F5344CB8AC3E}">
        <p14:creationId xmlns:p14="http://schemas.microsoft.com/office/powerpoint/2010/main" val="182383746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Purple with Image">
    <p:bg>
      <p:bgPr>
        <a:solidFill>
          <a:schemeClr val="accent1"/>
        </a:solidFill>
        <a:effectLst/>
      </p:bgPr>
    </p:bg>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06D3E6A9-608F-4FEF-9318-50780452D43F}"/>
              </a:ext>
            </a:extLst>
          </p:cNvPr>
          <p:cNvGrpSpPr/>
          <p:nvPr userDrawn="1"/>
        </p:nvGrpSpPr>
        <p:grpSpPr>
          <a:xfrm>
            <a:off x="9848850" y="557074"/>
            <a:ext cx="1904999" cy="195571"/>
            <a:chOff x="9848850" y="557074"/>
            <a:chExt cx="1904999" cy="195571"/>
          </a:xfrm>
          <a:solidFill>
            <a:schemeClr val="bg1"/>
          </a:solidFill>
        </p:grpSpPr>
        <p:sp>
          <p:nvSpPr>
            <p:cNvPr id="4" name="Freeform: Shape 3">
              <a:extLst>
                <a:ext uri="{FF2B5EF4-FFF2-40B4-BE49-F238E27FC236}">
                  <a16:creationId xmlns:a16="http://schemas.microsoft.com/office/drawing/2014/main" id="{982B1A2E-3EC0-4B78-AB9A-10329041127E}"/>
                </a:ext>
              </a:extLst>
            </p:cNvPr>
            <p:cNvSpPr/>
            <p:nvPr/>
          </p:nvSpPr>
          <p:spPr>
            <a:xfrm>
              <a:off x="9848850" y="560843"/>
              <a:ext cx="122454" cy="188307"/>
            </a:xfrm>
            <a:custGeom>
              <a:avLst/>
              <a:gdLst>
                <a:gd name="connsiteX0" fmla="*/ 0 w 122454"/>
                <a:gd name="connsiteY0" fmla="*/ 0 h 188307"/>
                <a:gd name="connsiteX1" fmla="*/ 0 w 122454"/>
                <a:gd name="connsiteY1" fmla="*/ 188307 h 188307"/>
                <a:gd name="connsiteX2" fmla="*/ 122455 w 122454"/>
                <a:gd name="connsiteY2" fmla="*/ 188307 h 188307"/>
                <a:gd name="connsiteX3" fmla="*/ 122455 w 122454"/>
                <a:gd name="connsiteY3" fmla="*/ 157813 h 188307"/>
                <a:gd name="connsiteX4" fmla="*/ 33235 w 122454"/>
                <a:gd name="connsiteY4" fmla="*/ 157813 h 188307"/>
                <a:gd name="connsiteX5" fmla="*/ 33235 w 122454"/>
                <a:gd name="connsiteY5" fmla="*/ 112792 h 188307"/>
                <a:gd name="connsiteX6" fmla="*/ 114163 w 122454"/>
                <a:gd name="connsiteY6" fmla="*/ 112792 h 188307"/>
                <a:gd name="connsiteX7" fmla="*/ 114163 w 122454"/>
                <a:gd name="connsiteY7" fmla="*/ 83327 h 188307"/>
                <a:gd name="connsiteX8" fmla="*/ 33235 w 122454"/>
                <a:gd name="connsiteY8" fmla="*/ 83327 h 188307"/>
                <a:gd name="connsiteX9" fmla="*/ 33235 w 122454"/>
                <a:gd name="connsiteY9" fmla="*/ 30562 h 188307"/>
                <a:gd name="connsiteX10" fmla="*/ 122455 w 122454"/>
                <a:gd name="connsiteY10" fmla="*/ 30562 h 188307"/>
                <a:gd name="connsiteX11" fmla="*/ 122455 w 122454"/>
                <a:gd name="connsiteY11" fmla="*/ 0 h 188307"/>
                <a:gd name="connsiteX12" fmla="*/ 0 w 122454"/>
                <a:gd name="connsiteY12" fmla="*/ 0 h 18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07">
                  <a:moveTo>
                    <a:pt x="0" y="0"/>
                  </a:moveTo>
                  <a:lnTo>
                    <a:pt x="0" y="188307"/>
                  </a:lnTo>
                  <a:lnTo>
                    <a:pt x="122455" y="188307"/>
                  </a:lnTo>
                  <a:lnTo>
                    <a:pt x="122455" y="157813"/>
                  </a:lnTo>
                  <a:lnTo>
                    <a:pt x="33235" y="157813"/>
                  </a:lnTo>
                  <a:lnTo>
                    <a:pt x="33235" y="112792"/>
                  </a:lnTo>
                  <a:lnTo>
                    <a:pt x="114163" y="112792"/>
                  </a:lnTo>
                  <a:lnTo>
                    <a:pt x="114163" y="83327"/>
                  </a:lnTo>
                  <a:lnTo>
                    <a:pt x="33235" y="83327"/>
                  </a:lnTo>
                  <a:lnTo>
                    <a:pt x="33235" y="30562"/>
                  </a:lnTo>
                  <a:lnTo>
                    <a:pt x="122455" y="30562"/>
                  </a:lnTo>
                  <a:lnTo>
                    <a:pt x="122455" y="0"/>
                  </a:lnTo>
                  <a:lnTo>
                    <a:pt x="0" y="0"/>
                  </a:lnTo>
                  <a:close/>
                </a:path>
              </a:pathLst>
            </a:custGeom>
            <a:grpFill/>
            <a:ln w="6853"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CDEEB691-8710-4322-806E-E69F81A5E418}"/>
                </a:ext>
              </a:extLst>
            </p:cNvPr>
            <p:cNvSpPr/>
            <p:nvPr/>
          </p:nvSpPr>
          <p:spPr>
            <a:xfrm>
              <a:off x="9998097" y="560843"/>
              <a:ext cx="185908" cy="190705"/>
            </a:xfrm>
            <a:custGeom>
              <a:avLst/>
              <a:gdLst>
                <a:gd name="connsiteX0" fmla="*/ 151098 w 185908"/>
                <a:gd name="connsiteY0" fmla="*/ 0 h 190705"/>
                <a:gd name="connsiteX1" fmla="*/ 93263 w 185908"/>
                <a:gd name="connsiteY1" fmla="*/ 128622 h 190705"/>
                <a:gd name="connsiteX2" fmla="*/ 35633 w 185908"/>
                <a:gd name="connsiteY2" fmla="*/ 0 h 190705"/>
                <a:gd name="connsiteX3" fmla="*/ 0 w 185908"/>
                <a:gd name="connsiteY3" fmla="*/ 0 h 190705"/>
                <a:gd name="connsiteX4" fmla="*/ 87301 w 185908"/>
                <a:gd name="connsiteY4" fmla="*/ 190706 h 190705"/>
                <a:gd name="connsiteX5" fmla="*/ 98608 w 185908"/>
                <a:gd name="connsiteY5" fmla="*/ 190706 h 190705"/>
                <a:gd name="connsiteX6" fmla="*/ 185909 w 185908"/>
                <a:gd name="connsiteY6" fmla="*/ 0 h 190705"/>
                <a:gd name="connsiteX7" fmla="*/ 151098 w 185908"/>
                <a:gd name="connsiteY7" fmla="*/ 0 h 190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908" h="190705">
                  <a:moveTo>
                    <a:pt x="151098" y="0"/>
                  </a:moveTo>
                  <a:lnTo>
                    <a:pt x="93263" y="128622"/>
                  </a:lnTo>
                  <a:lnTo>
                    <a:pt x="35633" y="0"/>
                  </a:lnTo>
                  <a:lnTo>
                    <a:pt x="0" y="0"/>
                  </a:lnTo>
                  <a:lnTo>
                    <a:pt x="87301" y="190706"/>
                  </a:lnTo>
                  <a:lnTo>
                    <a:pt x="98608" y="190706"/>
                  </a:lnTo>
                  <a:lnTo>
                    <a:pt x="185909" y="0"/>
                  </a:lnTo>
                  <a:lnTo>
                    <a:pt x="151098" y="0"/>
                  </a:lnTo>
                  <a:close/>
                </a:path>
              </a:pathLst>
            </a:custGeom>
            <a:grpFill/>
            <a:ln w="6853"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290779BC-95C9-40DF-AA48-4CE05FA0B9EE}"/>
                </a:ext>
              </a:extLst>
            </p:cNvPr>
            <p:cNvSpPr/>
            <p:nvPr/>
          </p:nvSpPr>
          <p:spPr>
            <a:xfrm>
              <a:off x="10165231" y="559199"/>
              <a:ext cx="184606" cy="190020"/>
            </a:xfrm>
            <a:custGeom>
              <a:avLst/>
              <a:gdLst>
                <a:gd name="connsiteX0" fmla="*/ 90701 w 184606"/>
                <a:gd name="connsiteY0" fmla="*/ 60490 h 190020"/>
                <a:gd name="connsiteX1" fmla="*/ 119345 w 184606"/>
                <a:gd name="connsiteY1" fmla="*/ 125314 h 190020"/>
                <a:gd name="connsiteX2" fmla="*/ 61989 w 184606"/>
                <a:gd name="connsiteY2" fmla="*/ 125314 h 190020"/>
                <a:gd name="connsiteX3" fmla="*/ 87481 w 184606"/>
                <a:gd name="connsiteY3" fmla="*/ -635 h 190020"/>
                <a:gd name="connsiteX4" fmla="*/ -985 w 184606"/>
                <a:gd name="connsiteY4" fmla="*/ 189385 h 190020"/>
                <a:gd name="connsiteX5" fmla="*/ 33826 w 184606"/>
                <a:gd name="connsiteY5" fmla="*/ 189385 h 190020"/>
                <a:gd name="connsiteX6" fmla="*/ 50203 w 184606"/>
                <a:gd name="connsiteY6" fmla="*/ 151833 h 190020"/>
                <a:gd name="connsiteX7" fmla="*/ 131131 w 184606"/>
                <a:gd name="connsiteY7" fmla="*/ 151833 h 190020"/>
                <a:gd name="connsiteX8" fmla="*/ 147714 w 184606"/>
                <a:gd name="connsiteY8" fmla="*/ 189385 h 190020"/>
                <a:gd name="connsiteX9" fmla="*/ 183622 w 184606"/>
                <a:gd name="connsiteY9" fmla="*/ 189385 h 190020"/>
                <a:gd name="connsiteX10" fmla="*/ 95155 w 184606"/>
                <a:gd name="connsiteY10" fmla="*/ -635 h 19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4606" h="190020">
                  <a:moveTo>
                    <a:pt x="90701" y="60490"/>
                  </a:moveTo>
                  <a:lnTo>
                    <a:pt x="119345" y="125314"/>
                  </a:lnTo>
                  <a:lnTo>
                    <a:pt x="61989" y="125314"/>
                  </a:lnTo>
                  <a:close/>
                  <a:moveTo>
                    <a:pt x="87481" y="-635"/>
                  </a:moveTo>
                  <a:lnTo>
                    <a:pt x="-985" y="189385"/>
                  </a:lnTo>
                  <a:lnTo>
                    <a:pt x="33826" y="189385"/>
                  </a:lnTo>
                  <a:lnTo>
                    <a:pt x="50203" y="151833"/>
                  </a:lnTo>
                  <a:lnTo>
                    <a:pt x="131131" y="151833"/>
                  </a:lnTo>
                  <a:lnTo>
                    <a:pt x="147714" y="189385"/>
                  </a:lnTo>
                  <a:lnTo>
                    <a:pt x="183622" y="189385"/>
                  </a:lnTo>
                  <a:lnTo>
                    <a:pt x="95155" y="-635"/>
                  </a:lnTo>
                  <a:close/>
                </a:path>
              </a:pathLst>
            </a:custGeom>
            <a:grpFill/>
            <a:ln w="6853"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BA4860F-3F0D-4929-8566-E5959309DE7F}"/>
                </a:ext>
              </a:extLst>
            </p:cNvPr>
            <p:cNvSpPr/>
            <p:nvPr/>
          </p:nvSpPr>
          <p:spPr>
            <a:xfrm>
              <a:off x="10381222" y="560843"/>
              <a:ext cx="122385" cy="188307"/>
            </a:xfrm>
            <a:custGeom>
              <a:avLst/>
              <a:gdLst>
                <a:gd name="connsiteX0" fmla="*/ 0 w 122385"/>
                <a:gd name="connsiteY0" fmla="*/ 0 h 188307"/>
                <a:gd name="connsiteX1" fmla="*/ 0 w 122385"/>
                <a:gd name="connsiteY1" fmla="*/ 188307 h 188307"/>
                <a:gd name="connsiteX2" fmla="*/ 122386 w 122385"/>
                <a:gd name="connsiteY2" fmla="*/ 188307 h 188307"/>
                <a:gd name="connsiteX3" fmla="*/ 122386 w 122385"/>
                <a:gd name="connsiteY3" fmla="*/ 157813 h 188307"/>
                <a:gd name="connsiteX4" fmla="*/ 33166 w 122385"/>
                <a:gd name="connsiteY4" fmla="*/ 157813 h 188307"/>
                <a:gd name="connsiteX5" fmla="*/ 33166 w 122385"/>
                <a:gd name="connsiteY5" fmla="*/ 0 h 188307"/>
                <a:gd name="connsiteX6" fmla="*/ 0 w 122385"/>
                <a:gd name="connsiteY6" fmla="*/ 0 h 18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85" h="188307">
                  <a:moveTo>
                    <a:pt x="0" y="0"/>
                  </a:moveTo>
                  <a:lnTo>
                    <a:pt x="0" y="188307"/>
                  </a:lnTo>
                  <a:lnTo>
                    <a:pt x="122386" y="188307"/>
                  </a:lnTo>
                  <a:lnTo>
                    <a:pt x="122386" y="157813"/>
                  </a:lnTo>
                  <a:lnTo>
                    <a:pt x="33166" y="157813"/>
                  </a:lnTo>
                  <a:lnTo>
                    <a:pt x="33166" y="0"/>
                  </a:lnTo>
                  <a:lnTo>
                    <a:pt x="0" y="0"/>
                  </a:lnTo>
                  <a:close/>
                </a:path>
              </a:pathLst>
            </a:custGeom>
            <a:grpFill/>
            <a:ln w="6853"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B12E63F6-4AED-4FCC-B839-0821E5C1D558}"/>
                </a:ext>
              </a:extLst>
            </p:cNvPr>
            <p:cNvSpPr/>
            <p:nvPr/>
          </p:nvSpPr>
          <p:spPr>
            <a:xfrm>
              <a:off x="10530744" y="560844"/>
              <a:ext cx="157059" cy="191801"/>
            </a:xfrm>
            <a:custGeom>
              <a:avLst/>
              <a:gdLst>
                <a:gd name="connsiteX0" fmla="*/ -985 w 157059"/>
                <a:gd name="connsiteY0" fmla="*/ -635 h 191801"/>
                <a:gd name="connsiteX1" fmla="*/ 32250 w 157059"/>
                <a:gd name="connsiteY1" fmla="*/ -635 h 191801"/>
                <a:gd name="connsiteX2" fmla="*/ 32250 w 157059"/>
                <a:gd name="connsiteY2" fmla="*/ 109759 h 191801"/>
                <a:gd name="connsiteX3" fmla="*/ 76997 w 157059"/>
                <a:gd name="connsiteY3" fmla="*/ 160673 h 191801"/>
                <a:gd name="connsiteX4" fmla="*/ 122840 w 157059"/>
                <a:gd name="connsiteY4" fmla="*/ 109484 h 191801"/>
                <a:gd name="connsiteX5" fmla="*/ 122840 w 157059"/>
                <a:gd name="connsiteY5" fmla="*/ -635 h 191801"/>
                <a:gd name="connsiteX6" fmla="*/ 156074 w 157059"/>
                <a:gd name="connsiteY6" fmla="*/ -635 h 191801"/>
                <a:gd name="connsiteX7" fmla="*/ 156074 w 157059"/>
                <a:gd name="connsiteY7" fmla="*/ 109759 h 191801"/>
                <a:gd name="connsiteX8" fmla="*/ 76997 w 157059"/>
                <a:gd name="connsiteY8" fmla="*/ 191167 h 191801"/>
                <a:gd name="connsiteX9" fmla="*/ -985 w 157059"/>
                <a:gd name="connsiteY9" fmla="*/ 109759 h 19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059" h="191801">
                  <a:moveTo>
                    <a:pt x="-985" y="-635"/>
                  </a:moveTo>
                  <a:lnTo>
                    <a:pt x="32250" y="-635"/>
                  </a:lnTo>
                  <a:lnTo>
                    <a:pt x="32250" y="109759"/>
                  </a:lnTo>
                  <a:cubicBezTo>
                    <a:pt x="32250" y="145666"/>
                    <a:pt x="48627" y="160673"/>
                    <a:pt x="76997" y="160673"/>
                  </a:cubicBezTo>
                  <a:cubicBezTo>
                    <a:pt x="105366" y="160673"/>
                    <a:pt x="122840" y="145666"/>
                    <a:pt x="122840" y="109484"/>
                  </a:cubicBezTo>
                  <a:lnTo>
                    <a:pt x="122840" y="-635"/>
                  </a:lnTo>
                  <a:lnTo>
                    <a:pt x="156074" y="-635"/>
                  </a:lnTo>
                  <a:lnTo>
                    <a:pt x="156074" y="109759"/>
                  </a:lnTo>
                  <a:cubicBezTo>
                    <a:pt x="156074" y="166018"/>
                    <a:pt x="124142" y="191167"/>
                    <a:pt x="76997" y="191167"/>
                  </a:cubicBezTo>
                  <a:cubicBezTo>
                    <a:pt x="29851" y="191167"/>
                    <a:pt x="-985" y="166018"/>
                    <a:pt x="-985" y="109759"/>
                  </a:cubicBezTo>
                  <a:close/>
                </a:path>
              </a:pathLst>
            </a:custGeom>
            <a:grpFill/>
            <a:ln w="6853"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89E35D2B-5F84-4B67-AC50-4C6225985947}"/>
                </a:ext>
              </a:extLst>
            </p:cNvPr>
            <p:cNvSpPr/>
            <p:nvPr/>
          </p:nvSpPr>
          <p:spPr>
            <a:xfrm>
              <a:off x="10738717" y="560432"/>
              <a:ext cx="122454" cy="188375"/>
            </a:xfrm>
            <a:custGeom>
              <a:avLst/>
              <a:gdLst>
                <a:gd name="connsiteX0" fmla="*/ 0 w 122454"/>
                <a:gd name="connsiteY0" fmla="*/ 0 h 188375"/>
                <a:gd name="connsiteX1" fmla="*/ 0 w 122454"/>
                <a:gd name="connsiteY1" fmla="*/ 188376 h 188375"/>
                <a:gd name="connsiteX2" fmla="*/ 122454 w 122454"/>
                <a:gd name="connsiteY2" fmla="*/ 188376 h 188375"/>
                <a:gd name="connsiteX3" fmla="*/ 122454 w 122454"/>
                <a:gd name="connsiteY3" fmla="*/ 157813 h 188375"/>
                <a:gd name="connsiteX4" fmla="*/ 33235 w 122454"/>
                <a:gd name="connsiteY4" fmla="*/ 157813 h 188375"/>
                <a:gd name="connsiteX5" fmla="*/ 33235 w 122454"/>
                <a:gd name="connsiteY5" fmla="*/ 112792 h 188375"/>
                <a:gd name="connsiteX6" fmla="*/ 114094 w 122454"/>
                <a:gd name="connsiteY6" fmla="*/ 112792 h 188375"/>
                <a:gd name="connsiteX7" fmla="*/ 114094 w 122454"/>
                <a:gd name="connsiteY7" fmla="*/ 83327 h 188375"/>
                <a:gd name="connsiteX8" fmla="*/ 33235 w 122454"/>
                <a:gd name="connsiteY8" fmla="*/ 83327 h 188375"/>
                <a:gd name="connsiteX9" fmla="*/ 33235 w 122454"/>
                <a:gd name="connsiteY9" fmla="*/ 30562 h 188375"/>
                <a:gd name="connsiteX10" fmla="*/ 122454 w 122454"/>
                <a:gd name="connsiteY10" fmla="*/ 30562 h 188375"/>
                <a:gd name="connsiteX11" fmla="*/ 122454 w 122454"/>
                <a:gd name="connsiteY11" fmla="*/ 0 h 188375"/>
                <a:gd name="connsiteX12" fmla="*/ 0 w 122454"/>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75">
                  <a:moveTo>
                    <a:pt x="0" y="0"/>
                  </a:moveTo>
                  <a:lnTo>
                    <a:pt x="0" y="188376"/>
                  </a:lnTo>
                  <a:lnTo>
                    <a:pt x="122454" y="188376"/>
                  </a:lnTo>
                  <a:lnTo>
                    <a:pt x="122454" y="157813"/>
                  </a:lnTo>
                  <a:lnTo>
                    <a:pt x="33235" y="157813"/>
                  </a:lnTo>
                  <a:lnTo>
                    <a:pt x="33235" y="112792"/>
                  </a:lnTo>
                  <a:lnTo>
                    <a:pt x="114094" y="112792"/>
                  </a:lnTo>
                  <a:lnTo>
                    <a:pt x="114094" y="83327"/>
                  </a:lnTo>
                  <a:lnTo>
                    <a:pt x="33235" y="83327"/>
                  </a:lnTo>
                  <a:lnTo>
                    <a:pt x="33235" y="30562"/>
                  </a:lnTo>
                  <a:lnTo>
                    <a:pt x="122454" y="30562"/>
                  </a:lnTo>
                  <a:lnTo>
                    <a:pt x="122454" y="0"/>
                  </a:lnTo>
                  <a:lnTo>
                    <a:pt x="0" y="0"/>
                  </a:lnTo>
                  <a:close/>
                </a:path>
              </a:pathLst>
            </a:custGeom>
            <a:grpFill/>
            <a:ln w="6853"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0EF39E0A-23A7-4A8E-BDFE-97F0DF77FD04}"/>
                </a:ext>
              </a:extLst>
            </p:cNvPr>
            <p:cNvSpPr/>
            <p:nvPr/>
          </p:nvSpPr>
          <p:spPr>
            <a:xfrm>
              <a:off x="10903178" y="557074"/>
              <a:ext cx="128896" cy="194954"/>
            </a:xfrm>
            <a:custGeom>
              <a:avLst/>
              <a:gdLst>
                <a:gd name="connsiteX0" fmla="*/ 60688 w 128896"/>
                <a:gd name="connsiteY0" fmla="*/ 194319 h 194954"/>
                <a:gd name="connsiteX1" fmla="*/ -985 w 128896"/>
                <a:gd name="connsiteY1" fmla="*/ 176366 h 194954"/>
                <a:gd name="connsiteX2" fmla="*/ 10528 w 128896"/>
                <a:gd name="connsiteY2" fmla="*/ 146352 h 194954"/>
                <a:gd name="connsiteX3" fmla="*/ 61716 w 128896"/>
                <a:gd name="connsiteY3" fmla="*/ 163209 h 194954"/>
                <a:gd name="connsiteX4" fmla="*/ 94060 w 128896"/>
                <a:gd name="connsiteY4" fmla="*/ 140185 h 194954"/>
                <a:gd name="connsiteX5" fmla="*/ 52944 w 128896"/>
                <a:gd name="connsiteY5" fmla="*/ 107498 h 194954"/>
                <a:gd name="connsiteX6" fmla="*/ 3607 w 128896"/>
                <a:gd name="connsiteY6" fmla="*/ 54185 h 194954"/>
                <a:gd name="connsiteX7" fmla="*/ 66855 w 128896"/>
                <a:gd name="connsiteY7" fmla="*/ -635 h 194954"/>
                <a:gd name="connsiteX8" fmla="*/ 118797 w 128896"/>
                <a:gd name="connsiteY8" fmla="*/ 12248 h 194954"/>
                <a:gd name="connsiteX9" fmla="*/ 108108 w 128896"/>
                <a:gd name="connsiteY9" fmla="*/ 41713 h 194954"/>
                <a:gd name="connsiteX10" fmla="*/ 66033 w 128896"/>
                <a:gd name="connsiteY10" fmla="*/ 29105 h 194954"/>
                <a:gd name="connsiteX11" fmla="*/ 37116 w 128896"/>
                <a:gd name="connsiteY11" fmla="*/ 53226 h 194954"/>
                <a:gd name="connsiteX12" fmla="*/ 73776 w 128896"/>
                <a:gd name="connsiteY12" fmla="*/ 82417 h 194954"/>
                <a:gd name="connsiteX13" fmla="*/ 127911 w 128896"/>
                <a:gd name="connsiteY13" fmla="*/ 140047 h 194954"/>
                <a:gd name="connsiteX14" fmla="*/ 60413 w 128896"/>
                <a:gd name="connsiteY14" fmla="*/ 194182 h 194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8896" h="194954">
                  <a:moveTo>
                    <a:pt x="60688" y="194319"/>
                  </a:moveTo>
                  <a:cubicBezTo>
                    <a:pt x="38896" y="193949"/>
                    <a:pt x="17585" y="187748"/>
                    <a:pt x="-985" y="176366"/>
                  </a:cubicBezTo>
                  <a:lnTo>
                    <a:pt x="10528" y="146352"/>
                  </a:lnTo>
                  <a:cubicBezTo>
                    <a:pt x="25603" y="156747"/>
                    <a:pt x="43419" y="162599"/>
                    <a:pt x="61716" y="163209"/>
                  </a:cubicBezTo>
                  <a:cubicBezTo>
                    <a:pt x="83918" y="163209"/>
                    <a:pt x="94060" y="152245"/>
                    <a:pt x="94060" y="140185"/>
                  </a:cubicBezTo>
                  <a:cubicBezTo>
                    <a:pt x="94060" y="128124"/>
                    <a:pt x="87207" y="120038"/>
                    <a:pt x="52944" y="107498"/>
                  </a:cubicBezTo>
                  <a:cubicBezTo>
                    <a:pt x="16215" y="93793"/>
                    <a:pt x="3607" y="76662"/>
                    <a:pt x="3607" y="54185"/>
                  </a:cubicBezTo>
                  <a:cubicBezTo>
                    <a:pt x="3607" y="25747"/>
                    <a:pt x="26631" y="-635"/>
                    <a:pt x="66855" y="-635"/>
                  </a:cubicBezTo>
                  <a:cubicBezTo>
                    <a:pt x="84946" y="-669"/>
                    <a:pt x="102831" y="3757"/>
                    <a:pt x="118797" y="12248"/>
                  </a:cubicBezTo>
                  <a:lnTo>
                    <a:pt x="108108" y="41713"/>
                  </a:lnTo>
                  <a:cubicBezTo>
                    <a:pt x="95293" y="34265"/>
                    <a:pt x="80834" y="29948"/>
                    <a:pt x="66033" y="29105"/>
                  </a:cubicBezTo>
                  <a:cubicBezTo>
                    <a:pt x="46229" y="29105"/>
                    <a:pt x="37116" y="40138"/>
                    <a:pt x="37116" y="53226"/>
                  </a:cubicBezTo>
                  <a:cubicBezTo>
                    <a:pt x="37116" y="66314"/>
                    <a:pt x="47257" y="72824"/>
                    <a:pt x="73776" y="82417"/>
                  </a:cubicBezTo>
                  <a:cubicBezTo>
                    <a:pt x="115851" y="98795"/>
                    <a:pt x="127911" y="115378"/>
                    <a:pt x="127911" y="140047"/>
                  </a:cubicBezTo>
                  <a:cubicBezTo>
                    <a:pt x="127911" y="173556"/>
                    <a:pt x="102488" y="194182"/>
                    <a:pt x="60413" y="194182"/>
                  </a:cubicBezTo>
                </a:path>
              </a:pathLst>
            </a:custGeom>
            <a:grpFill/>
            <a:ln w="6853"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F46E1330-2734-4879-8F37-EB6C19D791BB}"/>
                </a:ext>
              </a:extLst>
            </p:cNvPr>
            <p:cNvSpPr/>
            <p:nvPr/>
          </p:nvSpPr>
          <p:spPr>
            <a:xfrm>
              <a:off x="11078876" y="560432"/>
              <a:ext cx="122523" cy="188375"/>
            </a:xfrm>
            <a:custGeom>
              <a:avLst/>
              <a:gdLst>
                <a:gd name="connsiteX0" fmla="*/ 0 w 122523"/>
                <a:gd name="connsiteY0" fmla="*/ 0 h 188375"/>
                <a:gd name="connsiteX1" fmla="*/ 0 w 122523"/>
                <a:gd name="connsiteY1" fmla="*/ 188376 h 188375"/>
                <a:gd name="connsiteX2" fmla="*/ 122523 w 122523"/>
                <a:gd name="connsiteY2" fmla="*/ 188376 h 188375"/>
                <a:gd name="connsiteX3" fmla="*/ 122523 w 122523"/>
                <a:gd name="connsiteY3" fmla="*/ 157813 h 188375"/>
                <a:gd name="connsiteX4" fmla="*/ 33303 w 122523"/>
                <a:gd name="connsiteY4" fmla="*/ 157813 h 188375"/>
                <a:gd name="connsiteX5" fmla="*/ 33303 w 122523"/>
                <a:gd name="connsiteY5" fmla="*/ 112792 h 188375"/>
                <a:gd name="connsiteX6" fmla="*/ 114163 w 122523"/>
                <a:gd name="connsiteY6" fmla="*/ 112792 h 188375"/>
                <a:gd name="connsiteX7" fmla="*/ 114163 w 122523"/>
                <a:gd name="connsiteY7" fmla="*/ 83327 h 188375"/>
                <a:gd name="connsiteX8" fmla="*/ 33303 w 122523"/>
                <a:gd name="connsiteY8" fmla="*/ 83327 h 188375"/>
                <a:gd name="connsiteX9" fmla="*/ 33303 w 122523"/>
                <a:gd name="connsiteY9" fmla="*/ 30562 h 188375"/>
                <a:gd name="connsiteX10" fmla="*/ 122523 w 122523"/>
                <a:gd name="connsiteY10" fmla="*/ 30562 h 188375"/>
                <a:gd name="connsiteX11" fmla="*/ 122523 w 122523"/>
                <a:gd name="connsiteY11" fmla="*/ 0 h 188375"/>
                <a:gd name="connsiteX12" fmla="*/ 0 w 122523"/>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523" h="188375">
                  <a:moveTo>
                    <a:pt x="0" y="0"/>
                  </a:moveTo>
                  <a:lnTo>
                    <a:pt x="0" y="188376"/>
                  </a:lnTo>
                  <a:lnTo>
                    <a:pt x="122523" y="188376"/>
                  </a:lnTo>
                  <a:lnTo>
                    <a:pt x="122523" y="157813"/>
                  </a:lnTo>
                  <a:lnTo>
                    <a:pt x="33303" y="157813"/>
                  </a:lnTo>
                  <a:lnTo>
                    <a:pt x="33303" y="112792"/>
                  </a:lnTo>
                  <a:lnTo>
                    <a:pt x="114163" y="112792"/>
                  </a:lnTo>
                  <a:lnTo>
                    <a:pt x="114163" y="83327"/>
                  </a:lnTo>
                  <a:lnTo>
                    <a:pt x="33303" y="83327"/>
                  </a:lnTo>
                  <a:lnTo>
                    <a:pt x="33303" y="30562"/>
                  </a:lnTo>
                  <a:lnTo>
                    <a:pt x="122523" y="30562"/>
                  </a:lnTo>
                  <a:lnTo>
                    <a:pt x="122523" y="0"/>
                  </a:lnTo>
                  <a:lnTo>
                    <a:pt x="0" y="0"/>
                  </a:lnTo>
                  <a:close/>
                </a:path>
              </a:pathLst>
            </a:custGeom>
            <a:grpFill/>
            <a:ln w="6853"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32ED1C32-8954-4DC5-8742-722004C6AC5D}"/>
                </a:ext>
              </a:extLst>
            </p:cNvPr>
            <p:cNvSpPr/>
            <p:nvPr/>
          </p:nvSpPr>
          <p:spPr>
            <a:xfrm>
              <a:off x="11251971" y="560432"/>
              <a:ext cx="148767" cy="189412"/>
            </a:xfrm>
            <a:custGeom>
              <a:avLst/>
              <a:gdLst>
                <a:gd name="connsiteX0" fmla="*/ 32250 w 148767"/>
                <a:gd name="connsiteY0" fmla="*/ 29927 h 189412"/>
                <a:gd name="connsiteX1" fmla="*/ 32250 w 148767"/>
                <a:gd name="connsiteY1" fmla="*/ 103592 h 189412"/>
                <a:gd name="connsiteX2" fmla="*/ 56919 w 148767"/>
                <a:gd name="connsiteY2" fmla="*/ 103592 h 189412"/>
                <a:gd name="connsiteX3" fmla="*/ 98719 w 148767"/>
                <a:gd name="connsiteY3" fmla="*/ 66383 h 189412"/>
                <a:gd name="connsiteX4" fmla="*/ 56919 w 148767"/>
                <a:gd name="connsiteY4" fmla="*/ 29927 h 189412"/>
                <a:gd name="connsiteX5" fmla="*/ -985 w 148767"/>
                <a:gd name="connsiteY5" fmla="*/ -635 h 189412"/>
                <a:gd name="connsiteX6" fmla="*/ 59317 w 148767"/>
                <a:gd name="connsiteY6" fmla="*/ -635 h 189412"/>
                <a:gd name="connsiteX7" fmla="*/ 134694 w 148767"/>
                <a:gd name="connsiteY7" fmla="*/ 66383 h 189412"/>
                <a:gd name="connsiteX8" fmla="*/ 99610 w 148767"/>
                <a:gd name="connsiteY8" fmla="*/ 125862 h 189412"/>
                <a:gd name="connsiteX9" fmla="*/ 140314 w 148767"/>
                <a:gd name="connsiteY9" fmla="*/ 157727 h 189412"/>
                <a:gd name="connsiteX10" fmla="*/ 147783 w 148767"/>
                <a:gd name="connsiteY10" fmla="*/ 157727 h 189412"/>
                <a:gd name="connsiteX11" fmla="*/ 147783 w 148767"/>
                <a:gd name="connsiteY11" fmla="*/ 187192 h 189412"/>
                <a:gd name="connsiteX12" fmla="*/ 129829 w 148767"/>
                <a:gd name="connsiteY12" fmla="*/ 188768 h 189412"/>
                <a:gd name="connsiteX13" fmla="*/ 62880 w 148767"/>
                <a:gd name="connsiteY13" fmla="*/ 132783 h 189412"/>
                <a:gd name="connsiteX14" fmla="*/ 52944 w 148767"/>
                <a:gd name="connsiteY14" fmla="*/ 132783 h 189412"/>
                <a:gd name="connsiteX15" fmla="*/ 32387 w 148767"/>
                <a:gd name="connsiteY15" fmla="*/ 132783 h 189412"/>
                <a:gd name="connsiteX16" fmla="*/ 32387 w 148767"/>
                <a:gd name="connsiteY16" fmla="*/ 187604 h 189412"/>
                <a:gd name="connsiteX17" fmla="*/ -848 w 148767"/>
                <a:gd name="connsiteY17" fmla="*/ 187604 h 189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8767" h="189412">
                  <a:moveTo>
                    <a:pt x="32250" y="29927"/>
                  </a:moveTo>
                  <a:lnTo>
                    <a:pt x="32250" y="103592"/>
                  </a:lnTo>
                  <a:lnTo>
                    <a:pt x="56919" y="103592"/>
                  </a:lnTo>
                  <a:cubicBezTo>
                    <a:pt x="87961" y="103592"/>
                    <a:pt x="98719" y="87009"/>
                    <a:pt x="98719" y="66383"/>
                  </a:cubicBezTo>
                  <a:cubicBezTo>
                    <a:pt x="98719" y="45756"/>
                    <a:pt x="88235" y="29927"/>
                    <a:pt x="56919" y="29927"/>
                  </a:cubicBezTo>
                  <a:close/>
                  <a:moveTo>
                    <a:pt x="-985" y="-635"/>
                  </a:moveTo>
                  <a:lnTo>
                    <a:pt x="59317" y="-635"/>
                  </a:lnTo>
                  <a:cubicBezTo>
                    <a:pt x="109409" y="-635"/>
                    <a:pt x="134694" y="26775"/>
                    <a:pt x="134694" y="66383"/>
                  </a:cubicBezTo>
                  <a:cubicBezTo>
                    <a:pt x="134832" y="91154"/>
                    <a:pt x="121332" y="113994"/>
                    <a:pt x="99610" y="125862"/>
                  </a:cubicBezTo>
                  <a:cubicBezTo>
                    <a:pt x="113795" y="138128"/>
                    <a:pt x="117769" y="157727"/>
                    <a:pt x="140314" y="157727"/>
                  </a:cubicBezTo>
                  <a:lnTo>
                    <a:pt x="147783" y="157727"/>
                  </a:lnTo>
                  <a:lnTo>
                    <a:pt x="147783" y="187192"/>
                  </a:lnTo>
                  <a:cubicBezTo>
                    <a:pt x="141890" y="188323"/>
                    <a:pt x="135860" y="188851"/>
                    <a:pt x="129829" y="188768"/>
                  </a:cubicBezTo>
                  <a:cubicBezTo>
                    <a:pt x="82958" y="188768"/>
                    <a:pt x="85631" y="145666"/>
                    <a:pt x="62880" y="132783"/>
                  </a:cubicBezTo>
                  <a:cubicBezTo>
                    <a:pt x="59660" y="132783"/>
                    <a:pt x="56439" y="132783"/>
                    <a:pt x="52944" y="132783"/>
                  </a:cubicBezTo>
                  <a:lnTo>
                    <a:pt x="32387" y="132783"/>
                  </a:lnTo>
                  <a:lnTo>
                    <a:pt x="32387" y="187604"/>
                  </a:lnTo>
                  <a:lnTo>
                    <a:pt x="-848" y="187604"/>
                  </a:lnTo>
                  <a:close/>
                </a:path>
              </a:pathLst>
            </a:custGeom>
            <a:grpFill/>
            <a:ln w="6853"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4D9BA3F8-B706-48D2-84A5-BAF60046424E}"/>
                </a:ext>
              </a:extLst>
            </p:cNvPr>
            <p:cNvSpPr/>
            <p:nvPr/>
          </p:nvSpPr>
          <p:spPr>
            <a:xfrm>
              <a:off x="11411155" y="560432"/>
              <a:ext cx="185977" cy="190774"/>
            </a:xfrm>
            <a:custGeom>
              <a:avLst/>
              <a:gdLst>
                <a:gd name="connsiteX0" fmla="*/ 151098 w 185977"/>
                <a:gd name="connsiteY0" fmla="*/ 0 h 190774"/>
                <a:gd name="connsiteX1" fmla="*/ 93263 w 185977"/>
                <a:gd name="connsiteY1" fmla="*/ 128622 h 190774"/>
                <a:gd name="connsiteX2" fmla="*/ 35633 w 185977"/>
                <a:gd name="connsiteY2" fmla="*/ 0 h 190774"/>
                <a:gd name="connsiteX3" fmla="*/ 0 w 185977"/>
                <a:gd name="connsiteY3" fmla="*/ 0 h 190774"/>
                <a:gd name="connsiteX4" fmla="*/ 87370 w 185977"/>
                <a:gd name="connsiteY4" fmla="*/ 190774 h 190774"/>
                <a:gd name="connsiteX5" fmla="*/ 98608 w 185977"/>
                <a:gd name="connsiteY5" fmla="*/ 190774 h 190774"/>
                <a:gd name="connsiteX6" fmla="*/ 185977 w 185977"/>
                <a:gd name="connsiteY6" fmla="*/ 0 h 190774"/>
                <a:gd name="connsiteX7" fmla="*/ 151098 w 185977"/>
                <a:gd name="connsiteY7" fmla="*/ 0 h 19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977" h="190774">
                  <a:moveTo>
                    <a:pt x="151098" y="0"/>
                  </a:moveTo>
                  <a:lnTo>
                    <a:pt x="93263" y="128622"/>
                  </a:lnTo>
                  <a:lnTo>
                    <a:pt x="35633" y="0"/>
                  </a:lnTo>
                  <a:lnTo>
                    <a:pt x="0" y="0"/>
                  </a:lnTo>
                  <a:lnTo>
                    <a:pt x="87370" y="190774"/>
                  </a:lnTo>
                  <a:lnTo>
                    <a:pt x="98608" y="190774"/>
                  </a:lnTo>
                  <a:lnTo>
                    <a:pt x="185977" y="0"/>
                  </a:lnTo>
                  <a:lnTo>
                    <a:pt x="151098" y="0"/>
                  </a:lnTo>
                  <a:close/>
                </a:path>
              </a:pathLst>
            </a:custGeom>
            <a:grpFill/>
            <a:ln w="6853"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34C49746-C7B2-49F5-9848-5ED10587F0C5}"/>
                </a:ext>
              </a:extLst>
            </p:cNvPr>
            <p:cNvSpPr/>
            <p:nvPr/>
          </p:nvSpPr>
          <p:spPr>
            <a:xfrm>
              <a:off x="11631395" y="560432"/>
              <a:ext cx="122454" cy="188375"/>
            </a:xfrm>
            <a:custGeom>
              <a:avLst/>
              <a:gdLst>
                <a:gd name="connsiteX0" fmla="*/ 0 w 122454"/>
                <a:gd name="connsiteY0" fmla="*/ 0 h 188375"/>
                <a:gd name="connsiteX1" fmla="*/ 0 w 122454"/>
                <a:gd name="connsiteY1" fmla="*/ 188376 h 188375"/>
                <a:gd name="connsiteX2" fmla="*/ 122454 w 122454"/>
                <a:gd name="connsiteY2" fmla="*/ 188376 h 188375"/>
                <a:gd name="connsiteX3" fmla="*/ 122454 w 122454"/>
                <a:gd name="connsiteY3" fmla="*/ 157813 h 188375"/>
                <a:gd name="connsiteX4" fmla="*/ 33235 w 122454"/>
                <a:gd name="connsiteY4" fmla="*/ 157813 h 188375"/>
                <a:gd name="connsiteX5" fmla="*/ 33235 w 122454"/>
                <a:gd name="connsiteY5" fmla="*/ 112792 h 188375"/>
                <a:gd name="connsiteX6" fmla="*/ 114163 w 122454"/>
                <a:gd name="connsiteY6" fmla="*/ 112792 h 188375"/>
                <a:gd name="connsiteX7" fmla="*/ 114163 w 122454"/>
                <a:gd name="connsiteY7" fmla="*/ 83327 h 188375"/>
                <a:gd name="connsiteX8" fmla="*/ 33235 w 122454"/>
                <a:gd name="connsiteY8" fmla="*/ 83327 h 188375"/>
                <a:gd name="connsiteX9" fmla="*/ 33235 w 122454"/>
                <a:gd name="connsiteY9" fmla="*/ 30562 h 188375"/>
                <a:gd name="connsiteX10" fmla="*/ 122454 w 122454"/>
                <a:gd name="connsiteY10" fmla="*/ 30562 h 188375"/>
                <a:gd name="connsiteX11" fmla="*/ 122454 w 122454"/>
                <a:gd name="connsiteY11" fmla="*/ 0 h 188375"/>
                <a:gd name="connsiteX12" fmla="*/ 0 w 122454"/>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75">
                  <a:moveTo>
                    <a:pt x="0" y="0"/>
                  </a:moveTo>
                  <a:lnTo>
                    <a:pt x="0" y="188376"/>
                  </a:lnTo>
                  <a:lnTo>
                    <a:pt x="122454" y="188376"/>
                  </a:lnTo>
                  <a:lnTo>
                    <a:pt x="122454" y="157813"/>
                  </a:lnTo>
                  <a:lnTo>
                    <a:pt x="33235" y="157813"/>
                  </a:lnTo>
                  <a:lnTo>
                    <a:pt x="33235" y="112792"/>
                  </a:lnTo>
                  <a:lnTo>
                    <a:pt x="114163" y="112792"/>
                  </a:lnTo>
                  <a:lnTo>
                    <a:pt x="114163" y="83327"/>
                  </a:lnTo>
                  <a:lnTo>
                    <a:pt x="33235" y="83327"/>
                  </a:lnTo>
                  <a:lnTo>
                    <a:pt x="33235" y="30562"/>
                  </a:lnTo>
                  <a:lnTo>
                    <a:pt x="122454" y="30562"/>
                  </a:lnTo>
                  <a:lnTo>
                    <a:pt x="122454" y="0"/>
                  </a:lnTo>
                  <a:lnTo>
                    <a:pt x="0" y="0"/>
                  </a:lnTo>
                  <a:close/>
                </a:path>
              </a:pathLst>
            </a:custGeom>
            <a:grpFill/>
            <a:ln w="6853" cap="flat">
              <a:noFill/>
              <a:prstDash val="solid"/>
              <a:miter/>
            </a:ln>
          </p:spPr>
          <p:txBody>
            <a:bodyPr rtlCol="0" anchor="ctr"/>
            <a:lstStyle/>
            <a:p>
              <a:endParaRPr lang="en-GB"/>
            </a:p>
          </p:txBody>
        </p:sp>
      </p:grpSp>
      <p:sp>
        <p:nvSpPr>
          <p:cNvPr id="25" name="Picture Placeholder 24">
            <a:extLst>
              <a:ext uri="{FF2B5EF4-FFF2-40B4-BE49-F238E27FC236}">
                <a16:creationId xmlns:a16="http://schemas.microsoft.com/office/drawing/2014/main" id="{B3014224-1045-4EDC-AAD4-40B561B44A04}"/>
              </a:ext>
            </a:extLst>
          </p:cNvPr>
          <p:cNvSpPr>
            <a:spLocks noGrp="1"/>
          </p:cNvSpPr>
          <p:nvPr>
            <p:ph type="pic" sz="quarter" idx="15"/>
          </p:nvPr>
        </p:nvSpPr>
        <p:spPr>
          <a:xfrm>
            <a:off x="7923254" y="2012965"/>
            <a:ext cx="4268746" cy="4284648"/>
          </a:xfrm>
          <a:custGeom>
            <a:avLst/>
            <a:gdLst>
              <a:gd name="connsiteX0" fmla="*/ 2047529 w 4268746"/>
              <a:gd name="connsiteY0" fmla="*/ 3183018 h 4284648"/>
              <a:gd name="connsiteX1" fmla="*/ 3785884 w 4268746"/>
              <a:gd name="connsiteY1" fmla="*/ 3183018 h 4284648"/>
              <a:gd name="connsiteX2" fmla="*/ 4242833 w 4268746"/>
              <a:gd name="connsiteY2" fmla="*/ 3425978 h 4284648"/>
              <a:gd name="connsiteX3" fmla="*/ 4268746 w 4268746"/>
              <a:gd name="connsiteY3" fmla="*/ 3473719 h 4284648"/>
              <a:gd name="connsiteX4" fmla="*/ 4268746 w 4268746"/>
              <a:gd name="connsiteY4" fmla="*/ 3994445 h 4284648"/>
              <a:gd name="connsiteX5" fmla="*/ 4242833 w 4268746"/>
              <a:gd name="connsiteY5" fmla="*/ 4042186 h 4284648"/>
              <a:gd name="connsiteX6" fmla="*/ 3856069 w 4268746"/>
              <a:gd name="connsiteY6" fmla="*/ 4280719 h 4284648"/>
              <a:gd name="connsiteX7" fmla="*/ 3793778 w 4268746"/>
              <a:gd name="connsiteY7" fmla="*/ 4284648 h 4284648"/>
              <a:gd name="connsiteX8" fmla="*/ 2042595 w 4268746"/>
              <a:gd name="connsiteY8" fmla="*/ 4284648 h 4284648"/>
              <a:gd name="connsiteX9" fmla="*/ 1936468 w 4268746"/>
              <a:gd name="connsiteY9" fmla="*/ 4273937 h 4284648"/>
              <a:gd name="connsiteX10" fmla="*/ 1496467 w 4268746"/>
              <a:gd name="connsiteY10" fmla="*/ 3734018 h 4284648"/>
              <a:gd name="connsiteX11" fmla="*/ 1496467 w 4268746"/>
              <a:gd name="connsiteY11" fmla="*/ 3733955 h 4284648"/>
              <a:gd name="connsiteX12" fmla="*/ 2047529 w 4268746"/>
              <a:gd name="connsiteY12" fmla="*/ 3183018 h 4284648"/>
              <a:gd name="connsiteX13" fmla="*/ 551062 w 4268746"/>
              <a:gd name="connsiteY13" fmla="*/ 3182955 h 4284648"/>
              <a:gd name="connsiteX14" fmla="*/ 551317 w 4268746"/>
              <a:gd name="connsiteY14" fmla="*/ 3182955 h 4284648"/>
              <a:gd name="connsiteX15" fmla="*/ 1102379 w 4268746"/>
              <a:gd name="connsiteY15" fmla="*/ 3734018 h 4284648"/>
              <a:gd name="connsiteX16" fmla="*/ 662375 w 4268746"/>
              <a:gd name="connsiteY16" fmla="*/ 4273887 h 4284648"/>
              <a:gd name="connsiteX17" fmla="*/ 555622 w 4268746"/>
              <a:gd name="connsiteY17" fmla="*/ 4284648 h 4284648"/>
              <a:gd name="connsiteX18" fmla="*/ 547012 w 4268746"/>
              <a:gd name="connsiteY18" fmla="*/ 4284648 h 4284648"/>
              <a:gd name="connsiteX19" fmla="*/ 440260 w 4268746"/>
              <a:gd name="connsiteY19" fmla="*/ 4273887 h 4284648"/>
              <a:gd name="connsiteX20" fmla="*/ 255 w 4268746"/>
              <a:gd name="connsiteY20" fmla="*/ 3734018 h 4284648"/>
              <a:gd name="connsiteX21" fmla="*/ 64 w 4268746"/>
              <a:gd name="connsiteY21" fmla="*/ 3734082 h 4284648"/>
              <a:gd name="connsiteX22" fmla="*/ 64 w 4268746"/>
              <a:gd name="connsiteY22" fmla="*/ 3733955 h 4284648"/>
              <a:gd name="connsiteX23" fmla="*/ 551062 w 4268746"/>
              <a:gd name="connsiteY23" fmla="*/ 3182955 h 4284648"/>
              <a:gd name="connsiteX24" fmla="*/ 3785884 w 4268746"/>
              <a:gd name="connsiteY24" fmla="*/ 1591573 h 4284648"/>
              <a:gd name="connsiteX25" fmla="*/ 4242833 w 4268746"/>
              <a:gd name="connsiteY25" fmla="*/ 1834532 h 4284648"/>
              <a:gd name="connsiteX26" fmla="*/ 4268746 w 4268746"/>
              <a:gd name="connsiteY26" fmla="*/ 1882274 h 4284648"/>
              <a:gd name="connsiteX27" fmla="*/ 4268746 w 4268746"/>
              <a:gd name="connsiteY27" fmla="*/ 2403001 h 4284648"/>
              <a:gd name="connsiteX28" fmla="*/ 4242846 w 4268746"/>
              <a:gd name="connsiteY28" fmla="*/ 2450721 h 4284648"/>
              <a:gd name="connsiteX29" fmla="*/ 3785948 w 4268746"/>
              <a:gd name="connsiteY29" fmla="*/ 2693700 h 4284648"/>
              <a:gd name="connsiteX30" fmla="*/ 3785884 w 4268746"/>
              <a:gd name="connsiteY30" fmla="*/ 2693700 h 4284648"/>
              <a:gd name="connsiteX31" fmla="*/ 3234823 w 4268746"/>
              <a:gd name="connsiteY31" fmla="*/ 2142637 h 4284648"/>
              <a:gd name="connsiteX32" fmla="*/ 3785884 w 4268746"/>
              <a:gd name="connsiteY32" fmla="*/ 1591573 h 4284648"/>
              <a:gd name="connsiteX33" fmla="*/ 551062 w 4268746"/>
              <a:gd name="connsiteY33" fmla="*/ 1591573 h 4284648"/>
              <a:gd name="connsiteX34" fmla="*/ 2289673 w 4268746"/>
              <a:gd name="connsiteY34" fmla="*/ 1591573 h 4284648"/>
              <a:gd name="connsiteX35" fmla="*/ 2840734 w 4268746"/>
              <a:gd name="connsiteY35" fmla="*/ 2142637 h 4284648"/>
              <a:gd name="connsiteX36" fmla="*/ 2289673 w 4268746"/>
              <a:gd name="connsiteY36" fmla="*/ 2693700 h 4284648"/>
              <a:gd name="connsiteX37" fmla="*/ 551062 w 4268746"/>
              <a:gd name="connsiteY37" fmla="*/ 2693700 h 4284648"/>
              <a:gd name="connsiteX38" fmla="*/ 64 w 4268746"/>
              <a:gd name="connsiteY38" fmla="*/ 2142700 h 4284648"/>
              <a:gd name="connsiteX39" fmla="*/ 1 w 4268746"/>
              <a:gd name="connsiteY39" fmla="*/ 2142573 h 4284648"/>
              <a:gd name="connsiteX40" fmla="*/ 1 w 4268746"/>
              <a:gd name="connsiteY40" fmla="*/ 2142509 h 4284648"/>
              <a:gd name="connsiteX41" fmla="*/ 551062 w 4268746"/>
              <a:gd name="connsiteY41" fmla="*/ 1591573 h 4284648"/>
              <a:gd name="connsiteX42" fmla="*/ 551126 w 4268746"/>
              <a:gd name="connsiteY42" fmla="*/ 64 h 4284648"/>
              <a:gd name="connsiteX43" fmla="*/ 1102124 w 4268746"/>
              <a:gd name="connsiteY43" fmla="*/ 551191 h 4284648"/>
              <a:gd name="connsiteX44" fmla="*/ 1102188 w 4268746"/>
              <a:gd name="connsiteY44" fmla="*/ 551064 h 4284648"/>
              <a:gd name="connsiteX45" fmla="*/ 551062 w 4268746"/>
              <a:gd name="connsiteY45" fmla="*/ 1102191 h 4284648"/>
              <a:gd name="connsiteX46" fmla="*/ 550999 w 4268746"/>
              <a:gd name="connsiteY46" fmla="*/ 1102191 h 4284648"/>
              <a:gd name="connsiteX47" fmla="*/ 1 w 4268746"/>
              <a:gd name="connsiteY47" fmla="*/ 551064 h 4284648"/>
              <a:gd name="connsiteX48" fmla="*/ 551126 w 4268746"/>
              <a:gd name="connsiteY48" fmla="*/ 64 h 4284648"/>
              <a:gd name="connsiteX49" fmla="*/ 2047529 w 4268746"/>
              <a:gd name="connsiteY49" fmla="*/ 0 h 4284648"/>
              <a:gd name="connsiteX50" fmla="*/ 3785694 w 4268746"/>
              <a:gd name="connsiteY50" fmla="*/ 0 h 4284648"/>
              <a:gd name="connsiteX51" fmla="*/ 4242642 w 4268746"/>
              <a:gd name="connsiteY51" fmla="*/ 242960 h 4284648"/>
              <a:gd name="connsiteX52" fmla="*/ 4268746 w 4268746"/>
              <a:gd name="connsiteY52" fmla="*/ 291053 h 4284648"/>
              <a:gd name="connsiteX53" fmla="*/ 4268746 w 4268746"/>
              <a:gd name="connsiteY53" fmla="*/ 811427 h 4284648"/>
              <a:gd name="connsiteX54" fmla="*/ 4242833 w 4268746"/>
              <a:gd name="connsiteY54" fmla="*/ 859168 h 4284648"/>
              <a:gd name="connsiteX55" fmla="*/ 3785884 w 4268746"/>
              <a:gd name="connsiteY55" fmla="*/ 1102127 h 4284648"/>
              <a:gd name="connsiteX56" fmla="*/ 2047529 w 4268746"/>
              <a:gd name="connsiteY56" fmla="*/ 1102127 h 4284648"/>
              <a:gd name="connsiteX57" fmla="*/ 1496467 w 4268746"/>
              <a:gd name="connsiteY57" fmla="*/ 551064 h 4284648"/>
              <a:gd name="connsiteX58" fmla="*/ 2047529 w 4268746"/>
              <a:gd name="connsiteY58" fmla="*/ 0 h 42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4268746" h="4284648">
                <a:moveTo>
                  <a:pt x="2047529" y="3183018"/>
                </a:moveTo>
                <a:lnTo>
                  <a:pt x="3785884" y="3183018"/>
                </a:lnTo>
                <a:cubicBezTo>
                  <a:pt x="3976098" y="3183018"/>
                  <a:pt x="4143803" y="3279394"/>
                  <a:pt x="4242833" y="3425978"/>
                </a:cubicBezTo>
                <a:lnTo>
                  <a:pt x="4268746" y="3473719"/>
                </a:lnTo>
                <a:lnTo>
                  <a:pt x="4268746" y="3994445"/>
                </a:lnTo>
                <a:lnTo>
                  <a:pt x="4242833" y="4042186"/>
                </a:lnTo>
                <a:cubicBezTo>
                  <a:pt x="4156182" y="4170447"/>
                  <a:pt x="4016951" y="4260268"/>
                  <a:pt x="3856069" y="4280719"/>
                </a:cubicBezTo>
                <a:lnTo>
                  <a:pt x="3793778" y="4284648"/>
                </a:lnTo>
                <a:lnTo>
                  <a:pt x="2042595" y="4284648"/>
                </a:lnTo>
                <a:lnTo>
                  <a:pt x="1936468" y="4273937"/>
                </a:lnTo>
                <a:cubicBezTo>
                  <a:pt x="1685353" y="4222524"/>
                  <a:pt x="1496467" y="4000329"/>
                  <a:pt x="1496467" y="3734018"/>
                </a:cubicBezTo>
                <a:cubicBezTo>
                  <a:pt x="1496467" y="3733999"/>
                  <a:pt x="1496467" y="3733974"/>
                  <a:pt x="1496467" y="3733955"/>
                </a:cubicBezTo>
                <a:cubicBezTo>
                  <a:pt x="1496505" y="3429645"/>
                  <a:pt x="1743219" y="3182987"/>
                  <a:pt x="2047529" y="3183018"/>
                </a:cubicBezTo>
                <a:close/>
                <a:moveTo>
                  <a:pt x="551062" y="3182955"/>
                </a:moveTo>
                <a:cubicBezTo>
                  <a:pt x="551145" y="3182955"/>
                  <a:pt x="551234" y="3182955"/>
                  <a:pt x="551317" y="3182955"/>
                </a:cubicBezTo>
                <a:cubicBezTo>
                  <a:pt x="855658" y="3182955"/>
                  <a:pt x="1102379" y="3429676"/>
                  <a:pt x="1102379" y="3734018"/>
                </a:cubicBezTo>
                <a:cubicBezTo>
                  <a:pt x="1102379" y="4000318"/>
                  <a:pt x="913483" y="4222502"/>
                  <a:pt x="662375" y="4273887"/>
                </a:cubicBezTo>
                <a:lnTo>
                  <a:pt x="555622" y="4284648"/>
                </a:lnTo>
                <a:lnTo>
                  <a:pt x="547012" y="4284648"/>
                </a:lnTo>
                <a:lnTo>
                  <a:pt x="440260" y="4273887"/>
                </a:lnTo>
                <a:cubicBezTo>
                  <a:pt x="189151" y="4222502"/>
                  <a:pt x="255" y="4000318"/>
                  <a:pt x="255" y="3734018"/>
                </a:cubicBezTo>
                <a:lnTo>
                  <a:pt x="64" y="3734082"/>
                </a:lnTo>
                <a:cubicBezTo>
                  <a:pt x="64" y="3734037"/>
                  <a:pt x="64" y="3733999"/>
                  <a:pt x="64" y="3733955"/>
                </a:cubicBezTo>
                <a:cubicBezTo>
                  <a:pt x="64" y="3429645"/>
                  <a:pt x="246753" y="3182955"/>
                  <a:pt x="551062" y="3182955"/>
                </a:cubicBezTo>
                <a:close/>
                <a:moveTo>
                  <a:pt x="3785884" y="1591573"/>
                </a:moveTo>
                <a:cubicBezTo>
                  <a:pt x="3976098" y="1591573"/>
                  <a:pt x="4143803" y="1687948"/>
                  <a:pt x="4242833" y="1834532"/>
                </a:cubicBezTo>
                <a:lnTo>
                  <a:pt x="4268746" y="1882274"/>
                </a:lnTo>
                <a:lnTo>
                  <a:pt x="4268746" y="2403001"/>
                </a:lnTo>
                <a:lnTo>
                  <a:pt x="4242846" y="2450721"/>
                </a:lnTo>
                <a:cubicBezTo>
                  <a:pt x="4143830" y="2597300"/>
                  <a:pt x="3976145" y="2693680"/>
                  <a:pt x="3785948" y="2693700"/>
                </a:cubicBezTo>
                <a:cubicBezTo>
                  <a:pt x="3785929" y="2693700"/>
                  <a:pt x="3785903" y="2693700"/>
                  <a:pt x="3785884" y="2693700"/>
                </a:cubicBezTo>
                <a:cubicBezTo>
                  <a:pt x="3481543" y="2693700"/>
                  <a:pt x="3234823" y="2446979"/>
                  <a:pt x="3234823" y="2142637"/>
                </a:cubicBezTo>
                <a:cubicBezTo>
                  <a:pt x="3234823" y="1838294"/>
                  <a:pt x="3481543" y="1591573"/>
                  <a:pt x="3785884" y="1591573"/>
                </a:cubicBezTo>
                <a:close/>
                <a:moveTo>
                  <a:pt x="551062" y="1591573"/>
                </a:moveTo>
                <a:lnTo>
                  <a:pt x="2289673" y="1591573"/>
                </a:lnTo>
                <a:cubicBezTo>
                  <a:pt x="2594014" y="1591573"/>
                  <a:pt x="2840734" y="1838294"/>
                  <a:pt x="2840734" y="2142637"/>
                </a:cubicBezTo>
                <a:cubicBezTo>
                  <a:pt x="2840734" y="2446979"/>
                  <a:pt x="2594014" y="2693700"/>
                  <a:pt x="2289673" y="2693700"/>
                </a:cubicBezTo>
                <a:lnTo>
                  <a:pt x="551062" y="2693700"/>
                </a:lnTo>
                <a:cubicBezTo>
                  <a:pt x="246785" y="2693630"/>
                  <a:pt x="134" y="2446979"/>
                  <a:pt x="64" y="2142700"/>
                </a:cubicBezTo>
                <a:lnTo>
                  <a:pt x="1" y="2142573"/>
                </a:lnTo>
                <a:cubicBezTo>
                  <a:pt x="1" y="2142554"/>
                  <a:pt x="1" y="2142528"/>
                  <a:pt x="1" y="2142509"/>
                </a:cubicBezTo>
                <a:cubicBezTo>
                  <a:pt x="36" y="1838199"/>
                  <a:pt x="246753" y="1591535"/>
                  <a:pt x="551062" y="1591573"/>
                </a:cubicBezTo>
                <a:close/>
                <a:moveTo>
                  <a:pt x="551126" y="64"/>
                </a:moveTo>
                <a:cubicBezTo>
                  <a:pt x="855467" y="102"/>
                  <a:pt x="1102162" y="246849"/>
                  <a:pt x="1102124" y="551191"/>
                </a:cubicBezTo>
                <a:lnTo>
                  <a:pt x="1102188" y="551064"/>
                </a:lnTo>
                <a:cubicBezTo>
                  <a:pt x="1102188" y="855444"/>
                  <a:pt x="855442" y="1102191"/>
                  <a:pt x="551062" y="1102191"/>
                </a:cubicBezTo>
                <a:cubicBezTo>
                  <a:pt x="551043" y="1102191"/>
                  <a:pt x="551018" y="1102191"/>
                  <a:pt x="550999" y="1102191"/>
                </a:cubicBezTo>
                <a:cubicBezTo>
                  <a:pt x="246657" y="1102153"/>
                  <a:pt x="-34" y="855406"/>
                  <a:pt x="1" y="551064"/>
                </a:cubicBezTo>
                <a:cubicBezTo>
                  <a:pt x="36" y="246721"/>
                  <a:pt x="246785" y="25"/>
                  <a:pt x="551126" y="64"/>
                </a:cubicBezTo>
                <a:close/>
                <a:moveTo>
                  <a:pt x="2047529" y="0"/>
                </a:moveTo>
                <a:lnTo>
                  <a:pt x="3785694" y="0"/>
                </a:lnTo>
                <a:cubicBezTo>
                  <a:pt x="3975907" y="0"/>
                  <a:pt x="4143612" y="96376"/>
                  <a:pt x="4242642" y="242960"/>
                </a:cubicBezTo>
                <a:lnTo>
                  <a:pt x="4268746" y="291053"/>
                </a:lnTo>
                <a:lnTo>
                  <a:pt x="4268746" y="811427"/>
                </a:lnTo>
                <a:lnTo>
                  <a:pt x="4242833" y="859168"/>
                </a:lnTo>
                <a:cubicBezTo>
                  <a:pt x="4143803" y="1005752"/>
                  <a:pt x="3976098" y="1102127"/>
                  <a:pt x="3785884" y="1102127"/>
                </a:cubicBezTo>
                <a:lnTo>
                  <a:pt x="2047529" y="1102127"/>
                </a:lnTo>
                <a:cubicBezTo>
                  <a:pt x="1743188" y="1102127"/>
                  <a:pt x="1496467" y="855406"/>
                  <a:pt x="1496467" y="551064"/>
                </a:cubicBezTo>
                <a:cubicBezTo>
                  <a:pt x="1496467" y="246721"/>
                  <a:pt x="1743188" y="0"/>
                  <a:pt x="2047529" y="0"/>
                </a:cubicBezTo>
                <a:close/>
              </a:path>
            </a:pathLst>
          </a:custGeom>
          <a:solidFill>
            <a:srgbClr val="E6E7E8"/>
          </a:solidFill>
        </p:spPr>
        <p:txBody>
          <a:bodyPr wrap="square" anchor="ctr" anchorCtr="0">
            <a:noAutofit/>
          </a:bodyPr>
          <a:lstStyle>
            <a:lvl1pPr marL="0" indent="0">
              <a:spcBef>
                <a:spcPts val="1200"/>
              </a:spcBef>
              <a:buNone/>
              <a:defRPr sz="1400"/>
            </a:lvl1pPr>
          </a:lstStyle>
          <a:p>
            <a:r>
              <a:rPr lang="en-US"/>
              <a:t>Click icon to add picture</a:t>
            </a:r>
            <a:endParaRPr lang="en-GB"/>
          </a:p>
        </p:txBody>
      </p:sp>
      <p:sp>
        <p:nvSpPr>
          <p:cNvPr id="26" name="Picture Placeholder 6">
            <a:extLst>
              <a:ext uri="{FF2B5EF4-FFF2-40B4-BE49-F238E27FC236}">
                <a16:creationId xmlns:a16="http://schemas.microsoft.com/office/drawing/2014/main" id="{AF1D659E-93D7-4C1C-8FD7-1C6B528DF1AA}"/>
              </a:ext>
            </a:extLst>
          </p:cNvPr>
          <p:cNvSpPr>
            <a:spLocks noGrp="1"/>
          </p:cNvSpPr>
          <p:nvPr>
            <p:ph type="pic" sz="quarter" idx="10"/>
          </p:nvPr>
        </p:nvSpPr>
        <p:spPr>
          <a:xfrm>
            <a:off x="571500" y="5826125"/>
            <a:ext cx="2093913" cy="650875"/>
          </a:xfrm>
        </p:spPr>
        <p:txBody>
          <a:bodyPr/>
          <a:lstStyle>
            <a:lvl1pPr marL="0" indent="0">
              <a:buFontTx/>
              <a:buNone/>
              <a:defRPr>
                <a:solidFill>
                  <a:schemeClr val="bg1"/>
                </a:solidFill>
              </a:defRPr>
            </a:lvl1pPr>
          </a:lstStyle>
          <a:p>
            <a:endParaRPr lang="en-IN"/>
          </a:p>
        </p:txBody>
      </p:sp>
      <p:sp>
        <p:nvSpPr>
          <p:cNvPr id="24" name="Subtitle 2">
            <a:extLst>
              <a:ext uri="{FF2B5EF4-FFF2-40B4-BE49-F238E27FC236}">
                <a16:creationId xmlns:a16="http://schemas.microsoft.com/office/drawing/2014/main" id="{F4C1A3A3-355F-458B-AC71-5A231BD2499D}"/>
              </a:ext>
            </a:extLst>
          </p:cNvPr>
          <p:cNvSpPr>
            <a:spLocks noGrp="1"/>
          </p:cNvSpPr>
          <p:nvPr>
            <p:ph type="subTitle" idx="1" hasCustomPrompt="1"/>
          </p:nvPr>
        </p:nvSpPr>
        <p:spPr>
          <a:xfrm>
            <a:off x="603272" y="4227545"/>
            <a:ext cx="5140303" cy="1258455"/>
          </a:xfrm>
        </p:spPr>
        <p:txBody>
          <a:bodyPr lIns="0" rIns="0">
            <a:normAutofit/>
          </a:bodyPr>
          <a:lstStyle>
            <a:lvl1pPr marL="0" indent="0" algn="l">
              <a:buNone/>
              <a:defRPr sz="1600" b="0">
                <a:solidFill>
                  <a:schemeClr val="bg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p:txBody>
      </p:sp>
      <p:sp>
        <p:nvSpPr>
          <p:cNvPr id="27" name="Title 22">
            <a:extLst>
              <a:ext uri="{FF2B5EF4-FFF2-40B4-BE49-F238E27FC236}">
                <a16:creationId xmlns:a16="http://schemas.microsoft.com/office/drawing/2014/main" id="{ACE103F8-1BCC-44D0-9DE9-D74CF7E3AB6D}"/>
              </a:ext>
            </a:extLst>
          </p:cNvPr>
          <p:cNvSpPr>
            <a:spLocks noGrp="1"/>
          </p:cNvSpPr>
          <p:nvPr>
            <p:ph type="title" hasCustomPrompt="1"/>
          </p:nvPr>
        </p:nvSpPr>
        <p:spPr>
          <a:xfrm>
            <a:off x="587375" y="2225428"/>
            <a:ext cx="5156200" cy="1661993"/>
          </a:xfrm>
        </p:spPr>
        <p:txBody>
          <a:bodyPr vert="horz" lIns="0" tIns="0" rIns="0" bIns="0" anchor="b" anchorCtr="0">
            <a:spAutoFit/>
          </a:bodyPr>
          <a:lstStyle>
            <a:lvl1pPr algn="l" defTabSz="914400" rtl="0" eaLnBrk="1" latinLnBrk="0" hangingPunct="1">
              <a:lnSpc>
                <a:spcPct val="100000"/>
              </a:lnSpc>
              <a:spcBef>
                <a:spcPts val="100"/>
              </a:spcBef>
              <a:spcAft>
                <a:spcPts val="100"/>
              </a:spcAft>
              <a:buNone/>
              <a:defRPr lang="en-GB" sz="3600" b="1" kern="1200" dirty="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Title placeholder </a:t>
            </a:r>
            <a:r>
              <a:rPr lang="en-US" err="1"/>
              <a:t>alitori</a:t>
            </a:r>
            <a:r>
              <a:rPr lang="en-US"/>
              <a:t> </a:t>
            </a:r>
            <a:r>
              <a:rPr lang="en-US" err="1"/>
              <a:t>ut</a:t>
            </a:r>
            <a:r>
              <a:rPr lang="en-US"/>
              <a:t> </a:t>
            </a:r>
            <a:r>
              <a:rPr lang="en-US" err="1"/>
              <a:t>exeri</a:t>
            </a:r>
            <a:r>
              <a:rPr lang="en-US"/>
              <a:t> </a:t>
            </a:r>
            <a:r>
              <a:rPr lang="en-US" err="1"/>
              <a:t>bearitati</a:t>
            </a:r>
            <a:r>
              <a:rPr lang="en-US"/>
              <a:t> </a:t>
            </a:r>
            <a:r>
              <a:rPr lang="en-US" err="1"/>
              <a:t>ut</a:t>
            </a:r>
            <a:r>
              <a:rPr lang="en-US"/>
              <a:t> </a:t>
            </a:r>
            <a:r>
              <a:rPr lang="en-US" err="1"/>
              <a:t>volent</a:t>
            </a:r>
            <a:r>
              <a:rPr lang="en-US"/>
              <a:t> </a:t>
            </a:r>
            <a:r>
              <a:rPr lang="en-US" err="1"/>
              <a:t>lamusdae</a:t>
            </a:r>
            <a:r>
              <a:rPr lang="en-US"/>
              <a:t> es qui.</a:t>
            </a:r>
            <a:endParaRPr lang="en-GB"/>
          </a:p>
        </p:txBody>
      </p:sp>
    </p:spTree>
    <p:custDataLst>
      <p:tags r:id="rId1"/>
    </p:custDataLst>
    <p:extLst>
      <p:ext uri="{BB962C8B-B14F-4D97-AF65-F5344CB8AC3E}">
        <p14:creationId xmlns:p14="http://schemas.microsoft.com/office/powerpoint/2010/main" val="159056819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Purple">
    <p:bg>
      <p:bgPr>
        <a:solidFill>
          <a:schemeClr val="accent1"/>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0374356-2DEE-40D7-A5C3-76BE971FC02F}"/>
              </a:ext>
            </a:extLst>
          </p:cNvPr>
          <p:cNvSpPr>
            <a:spLocks noGrp="1"/>
          </p:cNvSpPr>
          <p:nvPr>
            <p:ph type="subTitle" idx="1" hasCustomPrompt="1"/>
          </p:nvPr>
        </p:nvSpPr>
        <p:spPr>
          <a:xfrm>
            <a:off x="603272" y="4405744"/>
            <a:ext cx="5140303" cy="1258455"/>
          </a:xfrm>
        </p:spPr>
        <p:txBody>
          <a:bodyPr lIns="0" rIns="0">
            <a:normAutofit/>
          </a:bodyPr>
          <a:lstStyle>
            <a:lvl1pPr marL="0" indent="0" algn="l">
              <a:buNone/>
              <a:defRPr sz="1400" b="0">
                <a:solidFill>
                  <a:schemeClr val="bg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endParaRPr lang="en-GB"/>
          </a:p>
        </p:txBody>
      </p:sp>
      <p:sp>
        <p:nvSpPr>
          <p:cNvPr id="23" name="Title 22">
            <a:extLst>
              <a:ext uri="{FF2B5EF4-FFF2-40B4-BE49-F238E27FC236}">
                <a16:creationId xmlns:a16="http://schemas.microsoft.com/office/drawing/2014/main" id="{09E82F87-CF4A-4A93-9472-B0DDD5EDA077}"/>
              </a:ext>
            </a:extLst>
          </p:cNvPr>
          <p:cNvSpPr>
            <a:spLocks noGrp="1"/>
          </p:cNvSpPr>
          <p:nvPr>
            <p:ph type="title" hasCustomPrompt="1"/>
          </p:nvPr>
        </p:nvSpPr>
        <p:spPr>
          <a:xfrm>
            <a:off x="587375" y="1567577"/>
            <a:ext cx="5156200" cy="2585323"/>
          </a:xfrm>
        </p:spPr>
        <p:txBody>
          <a:bodyPr lIns="0" tIns="0" rIns="0" bIns="0" anchor="b" anchorCtr="0">
            <a:spAutoFit/>
          </a:bodyPr>
          <a:lstStyle>
            <a:lvl1pPr algn="l" defTabSz="914400" rtl="0" eaLnBrk="1" latinLnBrk="0" hangingPunct="1">
              <a:lnSpc>
                <a:spcPct val="100000"/>
              </a:lnSpc>
              <a:spcBef>
                <a:spcPts val="100"/>
              </a:spcBef>
              <a:spcAft>
                <a:spcPts val="100"/>
              </a:spcAft>
              <a:buNone/>
              <a:defRPr lang="en-GB" sz="4200" b="1" kern="1200" dirty="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a:t>Divider placeholder bit </a:t>
            </a:r>
            <a:r>
              <a:rPr lang="en-US" err="1"/>
              <a:t>odis</a:t>
            </a:r>
            <a:r>
              <a:rPr lang="en-US"/>
              <a:t> re </a:t>
            </a:r>
            <a:r>
              <a:rPr lang="en-US" err="1"/>
              <a:t>pernatiis</a:t>
            </a:r>
            <a:r>
              <a:rPr lang="en-US"/>
              <a:t> </a:t>
            </a:r>
            <a:r>
              <a:rPr lang="en-US" err="1"/>
              <a:t>dundel</a:t>
            </a:r>
            <a:r>
              <a:rPr lang="en-US"/>
              <a:t> </a:t>
            </a:r>
            <a:r>
              <a:rPr lang="en-US" err="1"/>
              <a:t>eatem</a:t>
            </a:r>
            <a:r>
              <a:rPr lang="en-US"/>
              <a:t> </a:t>
            </a:r>
            <a:r>
              <a:rPr lang="en-US" err="1"/>
              <a:t>videntor</a:t>
            </a:r>
            <a:r>
              <a:rPr lang="en-US"/>
              <a:t>.</a:t>
            </a:r>
            <a:endParaRPr lang="en-GB"/>
          </a:p>
        </p:txBody>
      </p:sp>
      <p:sp>
        <p:nvSpPr>
          <p:cNvPr id="25" name="Freeform: Shape 24">
            <a:extLst>
              <a:ext uri="{FF2B5EF4-FFF2-40B4-BE49-F238E27FC236}">
                <a16:creationId xmlns:a16="http://schemas.microsoft.com/office/drawing/2014/main" id="{CF54FF5F-2672-463F-80F7-5FD1006ABE67}"/>
              </a:ext>
            </a:extLst>
          </p:cNvPr>
          <p:cNvSpPr/>
          <p:nvPr/>
        </p:nvSpPr>
        <p:spPr>
          <a:xfrm>
            <a:off x="11163300" y="5233935"/>
            <a:ext cx="1028700" cy="1069922"/>
          </a:xfrm>
          <a:custGeom>
            <a:avLst/>
            <a:gdLst>
              <a:gd name="connsiteX0" fmla="*/ 719995 w 1448982"/>
              <a:gd name="connsiteY0" fmla="*/ 1119378 h 1507045"/>
              <a:gd name="connsiteX1" fmla="*/ 1331309 w 1448982"/>
              <a:gd name="connsiteY1" fmla="*/ 1119378 h 1507045"/>
              <a:gd name="connsiteX2" fmla="*/ 1404338 w 1448982"/>
              <a:gd name="connsiteY2" fmla="*/ 1135373 h 1507045"/>
              <a:gd name="connsiteX3" fmla="*/ 1448982 w 1448982"/>
              <a:gd name="connsiteY3" fmla="*/ 1165809 h 1507045"/>
              <a:gd name="connsiteX4" fmla="*/ 1448982 w 1448982"/>
              <a:gd name="connsiteY4" fmla="*/ 1459947 h 1507045"/>
              <a:gd name="connsiteX5" fmla="*/ 1406401 w 1448982"/>
              <a:gd name="connsiteY5" fmla="*/ 1490049 h 1507045"/>
              <a:gd name="connsiteX6" fmla="*/ 1331309 w 1448982"/>
              <a:gd name="connsiteY6" fmla="*/ 1506950 h 1507045"/>
              <a:gd name="connsiteX7" fmla="*/ 719995 w 1448982"/>
              <a:gd name="connsiteY7" fmla="*/ 1506950 h 1507045"/>
              <a:gd name="connsiteX8" fmla="*/ 526256 w 1448982"/>
              <a:gd name="connsiteY8" fmla="*/ 1313116 h 1507045"/>
              <a:gd name="connsiteX9" fmla="*/ 719995 w 1448982"/>
              <a:gd name="connsiteY9" fmla="*/ 1119378 h 1507045"/>
              <a:gd name="connsiteX10" fmla="*/ 193834 w 1448982"/>
              <a:gd name="connsiteY10" fmla="*/ 1119378 h 1507045"/>
              <a:gd name="connsiteX11" fmla="*/ 194024 w 1448982"/>
              <a:gd name="connsiteY11" fmla="*/ 1119378 h 1507045"/>
              <a:gd name="connsiteX12" fmla="*/ 387763 w 1448982"/>
              <a:gd name="connsiteY12" fmla="*/ 1313307 h 1507045"/>
              <a:gd name="connsiteX13" fmla="*/ 193834 w 1448982"/>
              <a:gd name="connsiteY13" fmla="*/ 1507045 h 1507045"/>
              <a:gd name="connsiteX14" fmla="*/ 95 w 1448982"/>
              <a:gd name="connsiteY14" fmla="*/ 1313116 h 1507045"/>
              <a:gd name="connsiteX15" fmla="*/ 193834 w 1448982"/>
              <a:gd name="connsiteY15" fmla="*/ 1119378 h 1507045"/>
              <a:gd name="connsiteX16" fmla="*/ 193929 w 1448982"/>
              <a:gd name="connsiteY16" fmla="*/ 559784 h 1507045"/>
              <a:gd name="connsiteX17" fmla="*/ 805149 w 1448982"/>
              <a:gd name="connsiteY17" fmla="*/ 559784 h 1507045"/>
              <a:gd name="connsiteX18" fmla="*/ 813740 w 1448982"/>
              <a:gd name="connsiteY18" fmla="*/ 559784 h 1507045"/>
              <a:gd name="connsiteX19" fmla="*/ 1003230 w 1448982"/>
              <a:gd name="connsiteY19" fmla="*/ 757866 h 1507045"/>
              <a:gd name="connsiteX20" fmla="*/ 805149 w 1448982"/>
              <a:gd name="connsiteY20" fmla="*/ 947356 h 1507045"/>
              <a:gd name="connsiteX21" fmla="*/ 193929 w 1448982"/>
              <a:gd name="connsiteY21" fmla="*/ 947356 h 1507045"/>
              <a:gd name="connsiteX22" fmla="*/ 95 w 1448982"/>
              <a:gd name="connsiteY22" fmla="*/ 753523 h 1507045"/>
              <a:gd name="connsiteX23" fmla="*/ 193929 w 1448982"/>
              <a:gd name="connsiteY23" fmla="*/ 559784 h 1507045"/>
              <a:gd name="connsiteX24" fmla="*/ 1331214 w 1448982"/>
              <a:gd name="connsiteY24" fmla="*/ 559689 h 1507045"/>
              <a:gd name="connsiteX25" fmla="*/ 1406663 w 1448982"/>
              <a:gd name="connsiteY25" fmla="*/ 574922 h 1507045"/>
              <a:gd name="connsiteX26" fmla="*/ 1448982 w 1448982"/>
              <a:gd name="connsiteY26" fmla="*/ 603454 h 1507045"/>
              <a:gd name="connsiteX27" fmla="*/ 1448982 w 1448982"/>
              <a:gd name="connsiteY27" fmla="*/ 903636 h 1507045"/>
              <a:gd name="connsiteX28" fmla="*/ 1406719 w 1448982"/>
              <a:gd name="connsiteY28" fmla="*/ 932131 h 1507045"/>
              <a:gd name="connsiteX29" fmla="*/ 1331309 w 1448982"/>
              <a:gd name="connsiteY29" fmla="*/ 947356 h 1507045"/>
              <a:gd name="connsiteX30" fmla="*/ 1331214 w 1448982"/>
              <a:gd name="connsiteY30" fmla="*/ 947356 h 1507045"/>
              <a:gd name="connsiteX31" fmla="*/ 1137381 w 1448982"/>
              <a:gd name="connsiteY31" fmla="*/ 753523 h 1507045"/>
              <a:gd name="connsiteX32" fmla="*/ 1331214 w 1448982"/>
              <a:gd name="connsiteY32" fmla="*/ 559689 h 1507045"/>
              <a:gd name="connsiteX33" fmla="*/ 719995 w 1448982"/>
              <a:gd name="connsiteY33" fmla="*/ 95 h 1507045"/>
              <a:gd name="connsiteX34" fmla="*/ 1331309 w 1448982"/>
              <a:gd name="connsiteY34" fmla="*/ 95 h 1507045"/>
              <a:gd name="connsiteX35" fmla="*/ 1406727 w 1448982"/>
              <a:gd name="connsiteY35" fmla="*/ 15357 h 1507045"/>
              <a:gd name="connsiteX36" fmla="*/ 1448982 w 1448982"/>
              <a:gd name="connsiteY36" fmla="*/ 43864 h 1507045"/>
              <a:gd name="connsiteX37" fmla="*/ 1448982 w 1448982"/>
              <a:gd name="connsiteY37" fmla="*/ 343951 h 1507045"/>
              <a:gd name="connsiteX38" fmla="*/ 1406719 w 1448982"/>
              <a:gd name="connsiteY38" fmla="*/ 372444 h 1507045"/>
              <a:gd name="connsiteX39" fmla="*/ 1331309 w 1448982"/>
              <a:gd name="connsiteY39" fmla="*/ 387668 h 1507045"/>
              <a:gd name="connsiteX40" fmla="*/ 719995 w 1448982"/>
              <a:gd name="connsiteY40" fmla="*/ 387668 h 1507045"/>
              <a:gd name="connsiteX41" fmla="*/ 530504 w 1448982"/>
              <a:gd name="connsiteY41" fmla="*/ 198177 h 1507045"/>
              <a:gd name="connsiteX42" fmla="*/ 719995 w 1448982"/>
              <a:gd name="connsiteY42" fmla="*/ 95 h 1507045"/>
              <a:gd name="connsiteX43" fmla="*/ 193929 w 1448982"/>
              <a:gd name="connsiteY43" fmla="*/ 0 h 1507045"/>
              <a:gd name="connsiteX44" fmla="*/ 387668 w 1448982"/>
              <a:gd name="connsiteY44" fmla="*/ 193929 h 1507045"/>
              <a:gd name="connsiteX45" fmla="*/ 193834 w 1448982"/>
              <a:gd name="connsiteY45" fmla="*/ 387668 h 1507045"/>
              <a:gd name="connsiteX46" fmla="*/ 193739 w 1448982"/>
              <a:gd name="connsiteY46" fmla="*/ 387668 h 1507045"/>
              <a:gd name="connsiteX47" fmla="*/ 0 w 1448982"/>
              <a:gd name="connsiteY47" fmla="*/ 193738 h 1507045"/>
              <a:gd name="connsiteX48" fmla="*/ 193929 w 1448982"/>
              <a:gd name="connsiteY48" fmla="*/ 0 h 150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48982" h="1507045">
                <a:moveTo>
                  <a:pt x="719995" y="1119378"/>
                </a:moveTo>
                <a:lnTo>
                  <a:pt x="1331309" y="1119378"/>
                </a:lnTo>
                <a:cubicBezTo>
                  <a:pt x="1357231" y="1119952"/>
                  <a:pt x="1381892" y="1125601"/>
                  <a:pt x="1404338" y="1135373"/>
                </a:cubicBezTo>
                <a:lnTo>
                  <a:pt x="1448982" y="1165809"/>
                </a:lnTo>
                <a:lnTo>
                  <a:pt x="1448982" y="1459947"/>
                </a:lnTo>
                <a:lnTo>
                  <a:pt x="1406401" y="1490049"/>
                </a:lnTo>
                <a:cubicBezTo>
                  <a:pt x="1383434" y="1500370"/>
                  <a:pt x="1358065" y="1506357"/>
                  <a:pt x="1331309" y="1506950"/>
                </a:cubicBezTo>
                <a:lnTo>
                  <a:pt x="719995" y="1506950"/>
                </a:lnTo>
                <a:cubicBezTo>
                  <a:pt x="612982" y="1506893"/>
                  <a:pt x="526256" y="1420130"/>
                  <a:pt x="526256" y="1313116"/>
                </a:cubicBezTo>
                <a:cubicBezTo>
                  <a:pt x="526256" y="1206112"/>
                  <a:pt x="613000" y="1119378"/>
                  <a:pt x="719995" y="1119378"/>
                </a:cubicBezTo>
                <a:close/>
                <a:moveTo>
                  <a:pt x="193834" y="1119378"/>
                </a:moveTo>
                <a:cubicBezTo>
                  <a:pt x="193900" y="1119378"/>
                  <a:pt x="193958" y="1119378"/>
                  <a:pt x="194024" y="1119378"/>
                </a:cubicBezTo>
                <a:cubicBezTo>
                  <a:pt x="301076" y="1119425"/>
                  <a:pt x="387820" y="1206255"/>
                  <a:pt x="387763" y="1313307"/>
                </a:cubicBezTo>
                <a:cubicBezTo>
                  <a:pt x="387715" y="1420358"/>
                  <a:pt x="300885" y="1507093"/>
                  <a:pt x="193834" y="1507045"/>
                </a:cubicBezTo>
                <a:cubicBezTo>
                  <a:pt x="86782" y="1506988"/>
                  <a:pt x="48" y="1420168"/>
                  <a:pt x="95" y="1313116"/>
                </a:cubicBezTo>
                <a:cubicBezTo>
                  <a:pt x="143" y="1206141"/>
                  <a:pt x="86859" y="1119425"/>
                  <a:pt x="193834" y="1119378"/>
                </a:cubicBezTo>
                <a:close/>
                <a:moveTo>
                  <a:pt x="193929" y="559784"/>
                </a:moveTo>
                <a:lnTo>
                  <a:pt x="805149" y="559784"/>
                </a:lnTo>
                <a:cubicBezTo>
                  <a:pt x="808015" y="559717"/>
                  <a:pt x="810882" y="559717"/>
                  <a:pt x="813740" y="559784"/>
                </a:cubicBezTo>
                <a:cubicBezTo>
                  <a:pt x="920763" y="562156"/>
                  <a:pt x="1005602" y="650843"/>
                  <a:pt x="1003230" y="757866"/>
                </a:cubicBezTo>
                <a:cubicBezTo>
                  <a:pt x="1000859" y="864889"/>
                  <a:pt x="912171" y="949728"/>
                  <a:pt x="805149" y="947356"/>
                </a:cubicBezTo>
                <a:lnTo>
                  <a:pt x="193929" y="947356"/>
                </a:lnTo>
                <a:cubicBezTo>
                  <a:pt x="86878" y="947356"/>
                  <a:pt x="95" y="860574"/>
                  <a:pt x="95" y="753523"/>
                </a:cubicBezTo>
                <a:cubicBezTo>
                  <a:pt x="143" y="646509"/>
                  <a:pt x="86916" y="559784"/>
                  <a:pt x="193929" y="559784"/>
                </a:cubicBezTo>
                <a:close/>
                <a:moveTo>
                  <a:pt x="1331214" y="559689"/>
                </a:moveTo>
                <a:cubicBezTo>
                  <a:pt x="1357977" y="559689"/>
                  <a:pt x="1383473" y="565113"/>
                  <a:pt x="1406663" y="574922"/>
                </a:cubicBezTo>
                <a:lnTo>
                  <a:pt x="1448982" y="603454"/>
                </a:lnTo>
                <a:lnTo>
                  <a:pt x="1448982" y="903636"/>
                </a:lnTo>
                <a:lnTo>
                  <a:pt x="1406719" y="932131"/>
                </a:lnTo>
                <a:cubicBezTo>
                  <a:pt x="1383541" y="941935"/>
                  <a:pt x="1358058" y="947356"/>
                  <a:pt x="1331309" y="947356"/>
                </a:cubicBezTo>
                <a:cubicBezTo>
                  <a:pt x="1331281" y="947356"/>
                  <a:pt x="1331243" y="947356"/>
                  <a:pt x="1331214" y="947356"/>
                </a:cubicBezTo>
                <a:cubicBezTo>
                  <a:pt x="1224163" y="947356"/>
                  <a:pt x="1137381" y="860574"/>
                  <a:pt x="1137381" y="753523"/>
                </a:cubicBezTo>
                <a:cubicBezTo>
                  <a:pt x="1137381" y="646471"/>
                  <a:pt x="1224163" y="559689"/>
                  <a:pt x="1331214" y="559689"/>
                </a:cubicBezTo>
                <a:close/>
                <a:moveTo>
                  <a:pt x="719995" y="95"/>
                </a:moveTo>
                <a:lnTo>
                  <a:pt x="1331309" y="95"/>
                </a:lnTo>
                <a:cubicBezTo>
                  <a:pt x="1358063" y="109"/>
                  <a:pt x="1383548" y="5543"/>
                  <a:pt x="1406727" y="15357"/>
                </a:cubicBezTo>
                <a:lnTo>
                  <a:pt x="1448982" y="43864"/>
                </a:lnTo>
                <a:lnTo>
                  <a:pt x="1448982" y="343951"/>
                </a:lnTo>
                <a:lnTo>
                  <a:pt x="1406719" y="372444"/>
                </a:lnTo>
                <a:cubicBezTo>
                  <a:pt x="1383541" y="382247"/>
                  <a:pt x="1358058" y="387668"/>
                  <a:pt x="1331309" y="387668"/>
                </a:cubicBezTo>
                <a:lnTo>
                  <a:pt x="719995" y="387668"/>
                </a:lnTo>
                <a:cubicBezTo>
                  <a:pt x="616306" y="385372"/>
                  <a:pt x="532800" y="301866"/>
                  <a:pt x="530504" y="198177"/>
                </a:cubicBezTo>
                <a:cubicBezTo>
                  <a:pt x="528133" y="91154"/>
                  <a:pt x="612972" y="2467"/>
                  <a:pt x="719995" y="95"/>
                </a:cubicBezTo>
                <a:close/>
                <a:moveTo>
                  <a:pt x="193929" y="0"/>
                </a:moveTo>
                <a:cubicBezTo>
                  <a:pt x="300980" y="57"/>
                  <a:pt x="387715" y="86877"/>
                  <a:pt x="387668" y="193929"/>
                </a:cubicBezTo>
                <a:cubicBezTo>
                  <a:pt x="387620" y="300942"/>
                  <a:pt x="300847" y="387668"/>
                  <a:pt x="193834" y="387668"/>
                </a:cubicBezTo>
                <a:cubicBezTo>
                  <a:pt x="193805" y="387668"/>
                  <a:pt x="193767" y="387668"/>
                  <a:pt x="193739" y="387668"/>
                </a:cubicBezTo>
                <a:cubicBezTo>
                  <a:pt x="86687" y="387620"/>
                  <a:pt x="-57" y="300790"/>
                  <a:pt x="0" y="193738"/>
                </a:cubicBezTo>
                <a:cubicBezTo>
                  <a:pt x="48" y="86687"/>
                  <a:pt x="86878" y="-48"/>
                  <a:pt x="193929" y="0"/>
                </a:cubicBezTo>
                <a:close/>
              </a:path>
            </a:pathLst>
          </a:custGeom>
          <a:solidFill>
            <a:srgbClr val="E0044E"/>
          </a:solidFill>
          <a:ln w="9525" cap="flat">
            <a:noFill/>
            <a:prstDash val="solid"/>
            <a:miter/>
          </a:ln>
        </p:spPr>
        <p:txBody>
          <a:bodyPr rtlCol="0" anchor="ctr"/>
          <a:lstStyle/>
          <a:p>
            <a:endParaRPr lang="en-GB"/>
          </a:p>
        </p:txBody>
      </p:sp>
    </p:spTree>
    <p:custDataLst>
      <p:tags r:id="rId1"/>
    </p:custDataLst>
    <p:extLst>
      <p:ext uri="{BB962C8B-B14F-4D97-AF65-F5344CB8AC3E}">
        <p14:creationId xmlns:p14="http://schemas.microsoft.com/office/powerpoint/2010/main" val="4022594497"/>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Whit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784C2CE-ECF1-47E1-8B40-F649D9822CA3}"/>
              </a:ext>
            </a:extLst>
          </p:cNvPr>
          <p:cNvGraphicFramePr>
            <a:graphicFrameLocks noChangeAspect="1"/>
          </p:cNvGraphicFramePr>
          <p:nvPr userDrawn="1">
            <p:custDataLst>
              <p:tags r:id="rId2"/>
            </p:custDataLst>
            <p:extLst>
              <p:ext uri="{D42A27DB-BD31-4B8C-83A1-F6EECF244321}">
                <p14:modId xmlns:p14="http://schemas.microsoft.com/office/powerpoint/2010/main" val="1164222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9784C2CE-ECF1-47E1-8B40-F649D9822C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Title 22">
            <a:extLst>
              <a:ext uri="{FF2B5EF4-FFF2-40B4-BE49-F238E27FC236}">
                <a16:creationId xmlns:a16="http://schemas.microsoft.com/office/drawing/2014/main" id="{09E82F87-CF4A-4A93-9472-B0DDD5EDA077}"/>
              </a:ext>
            </a:extLst>
          </p:cNvPr>
          <p:cNvSpPr>
            <a:spLocks noGrp="1"/>
          </p:cNvSpPr>
          <p:nvPr>
            <p:ph type="title" hasCustomPrompt="1"/>
          </p:nvPr>
        </p:nvSpPr>
        <p:spPr>
          <a:xfrm>
            <a:off x="587375" y="2213908"/>
            <a:ext cx="5878080" cy="1938992"/>
          </a:xfrm>
        </p:spPr>
        <p:txBody>
          <a:bodyPr vert="horz" wrap="square" lIns="0" tIns="0" rIns="0" bIns="0" anchor="b" anchorCtr="0">
            <a:spAutoFit/>
          </a:bodyPr>
          <a:lstStyle>
            <a:lvl1pPr>
              <a:lnSpc>
                <a:spcPct val="100000"/>
              </a:lnSpc>
              <a:defRPr sz="4200">
                <a:solidFill>
                  <a:schemeClr val="accent1"/>
                </a:solidFill>
              </a:defRPr>
            </a:lvl1pPr>
          </a:lstStyle>
          <a:p>
            <a:r>
              <a:rPr lang="en-US"/>
              <a:t>Divider placeholder bit </a:t>
            </a:r>
            <a:r>
              <a:rPr lang="en-US" err="1"/>
              <a:t>odis</a:t>
            </a:r>
            <a:r>
              <a:rPr lang="en-US"/>
              <a:t> re </a:t>
            </a:r>
            <a:r>
              <a:rPr lang="en-US" err="1"/>
              <a:t>pernatiis</a:t>
            </a:r>
            <a:r>
              <a:rPr lang="en-US"/>
              <a:t> </a:t>
            </a:r>
            <a:r>
              <a:rPr lang="en-US" err="1"/>
              <a:t>dundel</a:t>
            </a:r>
            <a:r>
              <a:rPr lang="en-US"/>
              <a:t> </a:t>
            </a:r>
            <a:r>
              <a:rPr lang="en-US" err="1"/>
              <a:t>eatem</a:t>
            </a:r>
            <a:r>
              <a:rPr lang="en-US"/>
              <a:t> </a:t>
            </a:r>
            <a:r>
              <a:rPr lang="en-US" err="1"/>
              <a:t>videntor</a:t>
            </a:r>
            <a:r>
              <a:rPr lang="en-US"/>
              <a:t>.</a:t>
            </a:r>
            <a:endParaRPr lang="en-GB"/>
          </a:p>
        </p:txBody>
      </p:sp>
      <p:sp>
        <p:nvSpPr>
          <p:cNvPr id="6" name="Freeform: Shape 5">
            <a:extLst>
              <a:ext uri="{FF2B5EF4-FFF2-40B4-BE49-F238E27FC236}">
                <a16:creationId xmlns:a16="http://schemas.microsoft.com/office/drawing/2014/main" id="{962DFFF7-E690-41FB-8F6D-808BF05EF11D}"/>
              </a:ext>
            </a:extLst>
          </p:cNvPr>
          <p:cNvSpPr/>
          <p:nvPr userDrawn="1"/>
        </p:nvSpPr>
        <p:spPr>
          <a:xfrm>
            <a:off x="11163300" y="5233935"/>
            <a:ext cx="1028700" cy="1069922"/>
          </a:xfrm>
          <a:custGeom>
            <a:avLst/>
            <a:gdLst>
              <a:gd name="connsiteX0" fmla="*/ 719995 w 1448982"/>
              <a:gd name="connsiteY0" fmla="*/ 1119378 h 1507045"/>
              <a:gd name="connsiteX1" fmla="*/ 1331309 w 1448982"/>
              <a:gd name="connsiteY1" fmla="*/ 1119378 h 1507045"/>
              <a:gd name="connsiteX2" fmla="*/ 1404338 w 1448982"/>
              <a:gd name="connsiteY2" fmla="*/ 1135373 h 1507045"/>
              <a:gd name="connsiteX3" fmla="*/ 1448982 w 1448982"/>
              <a:gd name="connsiteY3" fmla="*/ 1165809 h 1507045"/>
              <a:gd name="connsiteX4" fmla="*/ 1448982 w 1448982"/>
              <a:gd name="connsiteY4" fmla="*/ 1459947 h 1507045"/>
              <a:gd name="connsiteX5" fmla="*/ 1406401 w 1448982"/>
              <a:gd name="connsiteY5" fmla="*/ 1490049 h 1507045"/>
              <a:gd name="connsiteX6" fmla="*/ 1331309 w 1448982"/>
              <a:gd name="connsiteY6" fmla="*/ 1506950 h 1507045"/>
              <a:gd name="connsiteX7" fmla="*/ 719995 w 1448982"/>
              <a:gd name="connsiteY7" fmla="*/ 1506950 h 1507045"/>
              <a:gd name="connsiteX8" fmla="*/ 526256 w 1448982"/>
              <a:gd name="connsiteY8" fmla="*/ 1313116 h 1507045"/>
              <a:gd name="connsiteX9" fmla="*/ 719995 w 1448982"/>
              <a:gd name="connsiteY9" fmla="*/ 1119378 h 1507045"/>
              <a:gd name="connsiteX10" fmla="*/ 193834 w 1448982"/>
              <a:gd name="connsiteY10" fmla="*/ 1119378 h 1507045"/>
              <a:gd name="connsiteX11" fmla="*/ 194024 w 1448982"/>
              <a:gd name="connsiteY11" fmla="*/ 1119378 h 1507045"/>
              <a:gd name="connsiteX12" fmla="*/ 387763 w 1448982"/>
              <a:gd name="connsiteY12" fmla="*/ 1313307 h 1507045"/>
              <a:gd name="connsiteX13" fmla="*/ 193834 w 1448982"/>
              <a:gd name="connsiteY13" fmla="*/ 1507045 h 1507045"/>
              <a:gd name="connsiteX14" fmla="*/ 95 w 1448982"/>
              <a:gd name="connsiteY14" fmla="*/ 1313116 h 1507045"/>
              <a:gd name="connsiteX15" fmla="*/ 193834 w 1448982"/>
              <a:gd name="connsiteY15" fmla="*/ 1119378 h 1507045"/>
              <a:gd name="connsiteX16" fmla="*/ 193929 w 1448982"/>
              <a:gd name="connsiteY16" fmla="*/ 559784 h 1507045"/>
              <a:gd name="connsiteX17" fmla="*/ 805149 w 1448982"/>
              <a:gd name="connsiteY17" fmla="*/ 559784 h 1507045"/>
              <a:gd name="connsiteX18" fmla="*/ 813740 w 1448982"/>
              <a:gd name="connsiteY18" fmla="*/ 559784 h 1507045"/>
              <a:gd name="connsiteX19" fmla="*/ 1003230 w 1448982"/>
              <a:gd name="connsiteY19" fmla="*/ 757866 h 1507045"/>
              <a:gd name="connsiteX20" fmla="*/ 805149 w 1448982"/>
              <a:gd name="connsiteY20" fmla="*/ 947356 h 1507045"/>
              <a:gd name="connsiteX21" fmla="*/ 193929 w 1448982"/>
              <a:gd name="connsiteY21" fmla="*/ 947356 h 1507045"/>
              <a:gd name="connsiteX22" fmla="*/ 95 w 1448982"/>
              <a:gd name="connsiteY22" fmla="*/ 753523 h 1507045"/>
              <a:gd name="connsiteX23" fmla="*/ 193929 w 1448982"/>
              <a:gd name="connsiteY23" fmla="*/ 559784 h 1507045"/>
              <a:gd name="connsiteX24" fmla="*/ 1331214 w 1448982"/>
              <a:gd name="connsiteY24" fmla="*/ 559689 h 1507045"/>
              <a:gd name="connsiteX25" fmla="*/ 1406663 w 1448982"/>
              <a:gd name="connsiteY25" fmla="*/ 574922 h 1507045"/>
              <a:gd name="connsiteX26" fmla="*/ 1448982 w 1448982"/>
              <a:gd name="connsiteY26" fmla="*/ 603454 h 1507045"/>
              <a:gd name="connsiteX27" fmla="*/ 1448982 w 1448982"/>
              <a:gd name="connsiteY27" fmla="*/ 903636 h 1507045"/>
              <a:gd name="connsiteX28" fmla="*/ 1406719 w 1448982"/>
              <a:gd name="connsiteY28" fmla="*/ 932131 h 1507045"/>
              <a:gd name="connsiteX29" fmla="*/ 1331309 w 1448982"/>
              <a:gd name="connsiteY29" fmla="*/ 947356 h 1507045"/>
              <a:gd name="connsiteX30" fmla="*/ 1331214 w 1448982"/>
              <a:gd name="connsiteY30" fmla="*/ 947356 h 1507045"/>
              <a:gd name="connsiteX31" fmla="*/ 1137381 w 1448982"/>
              <a:gd name="connsiteY31" fmla="*/ 753523 h 1507045"/>
              <a:gd name="connsiteX32" fmla="*/ 1331214 w 1448982"/>
              <a:gd name="connsiteY32" fmla="*/ 559689 h 1507045"/>
              <a:gd name="connsiteX33" fmla="*/ 719995 w 1448982"/>
              <a:gd name="connsiteY33" fmla="*/ 95 h 1507045"/>
              <a:gd name="connsiteX34" fmla="*/ 1331309 w 1448982"/>
              <a:gd name="connsiteY34" fmla="*/ 95 h 1507045"/>
              <a:gd name="connsiteX35" fmla="*/ 1406727 w 1448982"/>
              <a:gd name="connsiteY35" fmla="*/ 15357 h 1507045"/>
              <a:gd name="connsiteX36" fmla="*/ 1448982 w 1448982"/>
              <a:gd name="connsiteY36" fmla="*/ 43864 h 1507045"/>
              <a:gd name="connsiteX37" fmla="*/ 1448982 w 1448982"/>
              <a:gd name="connsiteY37" fmla="*/ 343951 h 1507045"/>
              <a:gd name="connsiteX38" fmla="*/ 1406719 w 1448982"/>
              <a:gd name="connsiteY38" fmla="*/ 372444 h 1507045"/>
              <a:gd name="connsiteX39" fmla="*/ 1331309 w 1448982"/>
              <a:gd name="connsiteY39" fmla="*/ 387668 h 1507045"/>
              <a:gd name="connsiteX40" fmla="*/ 719995 w 1448982"/>
              <a:gd name="connsiteY40" fmla="*/ 387668 h 1507045"/>
              <a:gd name="connsiteX41" fmla="*/ 530504 w 1448982"/>
              <a:gd name="connsiteY41" fmla="*/ 198177 h 1507045"/>
              <a:gd name="connsiteX42" fmla="*/ 719995 w 1448982"/>
              <a:gd name="connsiteY42" fmla="*/ 95 h 1507045"/>
              <a:gd name="connsiteX43" fmla="*/ 193929 w 1448982"/>
              <a:gd name="connsiteY43" fmla="*/ 0 h 1507045"/>
              <a:gd name="connsiteX44" fmla="*/ 387668 w 1448982"/>
              <a:gd name="connsiteY44" fmla="*/ 193929 h 1507045"/>
              <a:gd name="connsiteX45" fmla="*/ 193834 w 1448982"/>
              <a:gd name="connsiteY45" fmla="*/ 387668 h 1507045"/>
              <a:gd name="connsiteX46" fmla="*/ 193739 w 1448982"/>
              <a:gd name="connsiteY46" fmla="*/ 387668 h 1507045"/>
              <a:gd name="connsiteX47" fmla="*/ 0 w 1448982"/>
              <a:gd name="connsiteY47" fmla="*/ 193738 h 1507045"/>
              <a:gd name="connsiteX48" fmla="*/ 193929 w 1448982"/>
              <a:gd name="connsiteY48" fmla="*/ 0 h 150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48982" h="1507045">
                <a:moveTo>
                  <a:pt x="719995" y="1119378"/>
                </a:moveTo>
                <a:lnTo>
                  <a:pt x="1331309" y="1119378"/>
                </a:lnTo>
                <a:cubicBezTo>
                  <a:pt x="1357231" y="1119952"/>
                  <a:pt x="1381892" y="1125601"/>
                  <a:pt x="1404338" y="1135373"/>
                </a:cubicBezTo>
                <a:lnTo>
                  <a:pt x="1448982" y="1165809"/>
                </a:lnTo>
                <a:lnTo>
                  <a:pt x="1448982" y="1459947"/>
                </a:lnTo>
                <a:lnTo>
                  <a:pt x="1406401" y="1490049"/>
                </a:lnTo>
                <a:cubicBezTo>
                  <a:pt x="1383434" y="1500370"/>
                  <a:pt x="1358065" y="1506357"/>
                  <a:pt x="1331309" y="1506950"/>
                </a:cubicBezTo>
                <a:lnTo>
                  <a:pt x="719995" y="1506950"/>
                </a:lnTo>
                <a:cubicBezTo>
                  <a:pt x="612982" y="1506893"/>
                  <a:pt x="526256" y="1420130"/>
                  <a:pt x="526256" y="1313116"/>
                </a:cubicBezTo>
                <a:cubicBezTo>
                  <a:pt x="526256" y="1206112"/>
                  <a:pt x="613000" y="1119378"/>
                  <a:pt x="719995" y="1119378"/>
                </a:cubicBezTo>
                <a:close/>
                <a:moveTo>
                  <a:pt x="193834" y="1119378"/>
                </a:moveTo>
                <a:cubicBezTo>
                  <a:pt x="193900" y="1119378"/>
                  <a:pt x="193958" y="1119378"/>
                  <a:pt x="194024" y="1119378"/>
                </a:cubicBezTo>
                <a:cubicBezTo>
                  <a:pt x="301076" y="1119425"/>
                  <a:pt x="387820" y="1206255"/>
                  <a:pt x="387763" y="1313307"/>
                </a:cubicBezTo>
                <a:cubicBezTo>
                  <a:pt x="387715" y="1420358"/>
                  <a:pt x="300885" y="1507093"/>
                  <a:pt x="193834" y="1507045"/>
                </a:cubicBezTo>
                <a:cubicBezTo>
                  <a:pt x="86782" y="1506988"/>
                  <a:pt x="48" y="1420168"/>
                  <a:pt x="95" y="1313116"/>
                </a:cubicBezTo>
                <a:cubicBezTo>
                  <a:pt x="143" y="1206141"/>
                  <a:pt x="86859" y="1119425"/>
                  <a:pt x="193834" y="1119378"/>
                </a:cubicBezTo>
                <a:close/>
                <a:moveTo>
                  <a:pt x="193929" y="559784"/>
                </a:moveTo>
                <a:lnTo>
                  <a:pt x="805149" y="559784"/>
                </a:lnTo>
                <a:cubicBezTo>
                  <a:pt x="808015" y="559717"/>
                  <a:pt x="810882" y="559717"/>
                  <a:pt x="813740" y="559784"/>
                </a:cubicBezTo>
                <a:cubicBezTo>
                  <a:pt x="920763" y="562156"/>
                  <a:pt x="1005602" y="650843"/>
                  <a:pt x="1003230" y="757866"/>
                </a:cubicBezTo>
                <a:cubicBezTo>
                  <a:pt x="1000859" y="864889"/>
                  <a:pt x="912171" y="949728"/>
                  <a:pt x="805149" y="947356"/>
                </a:cubicBezTo>
                <a:lnTo>
                  <a:pt x="193929" y="947356"/>
                </a:lnTo>
                <a:cubicBezTo>
                  <a:pt x="86878" y="947356"/>
                  <a:pt x="95" y="860574"/>
                  <a:pt x="95" y="753523"/>
                </a:cubicBezTo>
                <a:cubicBezTo>
                  <a:pt x="143" y="646509"/>
                  <a:pt x="86916" y="559784"/>
                  <a:pt x="193929" y="559784"/>
                </a:cubicBezTo>
                <a:close/>
                <a:moveTo>
                  <a:pt x="1331214" y="559689"/>
                </a:moveTo>
                <a:cubicBezTo>
                  <a:pt x="1357977" y="559689"/>
                  <a:pt x="1383473" y="565113"/>
                  <a:pt x="1406663" y="574922"/>
                </a:cubicBezTo>
                <a:lnTo>
                  <a:pt x="1448982" y="603454"/>
                </a:lnTo>
                <a:lnTo>
                  <a:pt x="1448982" y="903636"/>
                </a:lnTo>
                <a:lnTo>
                  <a:pt x="1406719" y="932131"/>
                </a:lnTo>
                <a:cubicBezTo>
                  <a:pt x="1383541" y="941935"/>
                  <a:pt x="1358058" y="947356"/>
                  <a:pt x="1331309" y="947356"/>
                </a:cubicBezTo>
                <a:cubicBezTo>
                  <a:pt x="1331281" y="947356"/>
                  <a:pt x="1331243" y="947356"/>
                  <a:pt x="1331214" y="947356"/>
                </a:cubicBezTo>
                <a:cubicBezTo>
                  <a:pt x="1224163" y="947356"/>
                  <a:pt x="1137381" y="860574"/>
                  <a:pt x="1137381" y="753523"/>
                </a:cubicBezTo>
                <a:cubicBezTo>
                  <a:pt x="1137381" y="646471"/>
                  <a:pt x="1224163" y="559689"/>
                  <a:pt x="1331214" y="559689"/>
                </a:cubicBezTo>
                <a:close/>
                <a:moveTo>
                  <a:pt x="719995" y="95"/>
                </a:moveTo>
                <a:lnTo>
                  <a:pt x="1331309" y="95"/>
                </a:lnTo>
                <a:cubicBezTo>
                  <a:pt x="1358063" y="109"/>
                  <a:pt x="1383548" y="5543"/>
                  <a:pt x="1406727" y="15357"/>
                </a:cubicBezTo>
                <a:lnTo>
                  <a:pt x="1448982" y="43864"/>
                </a:lnTo>
                <a:lnTo>
                  <a:pt x="1448982" y="343951"/>
                </a:lnTo>
                <a:lnTo>
                  <a:pt x="1406719" y="372444"/>
                </a:lnTo>
                <a:cubicBezTo>
                  <a:pt x="1383541" y="382247"/>
                  <a:pt x="1358058" y="387668"/>
                  <a:pt x="1331309" y="387668"/>
                </a:cubicBezTo>
                <a:lnTo>
                  <a:pt x="719995" y="387668"/>
                </a:lnTo>
                <a:cubicBezTo>
                  <a:pt x="616306" y="385372"/>
                  <a:pt x="532800" y="301866"/>
                  <a:pt x="530504" y="198177"/>
                </a:cubicBezTo>
                <a:cubicBezTo>
                  <a:pt x="528133" y="91154"/>
                  <a:pt x="612972" y="2467"/>
                  <a:pt x="719995" y="95"/>
                </a:cubicBezTo>
                <a:close/>
                <a:moveTo>
                  <a:pt x="193929" y="0"/>
                </a:moveTo>
                <a:cubicBezTo>
                  <a:pt x="300980" y="57"/>
                  <a:pt x="387715" y="86877"/>
                  <a:pt x="387668" y="193929"/>
                </a:cubicBezTo>
                <a:cubicBezTo>
                  <a:pt x="387620" y="300942"/>
                  <a:pt x="300847" y="387668"/>
                  <a:pt x="193834" y="387668"/>
                </a:cubicBezTo>
                <a:cubicBezTo>
                  <a:pt x="193805" y="387668"/>
                  <a:pt x="193767" y="387668"/>
                  <a:pt x="193739" y="387668"/>
                </a:cubicBezTo>
                <a:cubicBezTo>
                  <a:pt x="86687" y="387620"/>
                  <a:pt x="-57" y="300790"/>
                  <a:pt x="0" y="193738"/>
                </a:cubicBezTo>
                <a:cubicBezTo>
                  <a:pt x="48" y="86687"/>
                  <a:pt x="86878" y="-48"/>
                  <a:pt x="193929" y="0"/>
                </a:cubicBezTo>
                <a:close/>
              </a:path>
            </a:pathLst>
          </a:custGeom>
          <a:solidFill>
            <a:srgbClr val="E0044E"/>
          </a:solidFill>
          <a:ln w="9525" cap="flat">
            <a:noFill/>
            <a:prstDash val="solid"/>
            <a:miter/>
          </a:ln>
        </p:spPr>
        <p:txBody>
          <a:bodyPr rtlCol="0" anchor="ctr"/>
          <a:lstStyle/>
          <a:p>
            <a:endParaRPr lang="en-GB"/>
          </a:p>
        </p:txBody>
      </p:sp>
    </p:spTree>
    <p:custDataLst>
      <p:tags r:id="rId1"/>
    </p:custDataLst>
    <p:extLst>
      <p:ext uri="{BB962C8B-B14F-4D97-AF65-F5344CB8AC3E}">
        <p14:creationId xmlns:p14="http://schemas.microsoft.com/office/powerpoint/2010/main" val="422860047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NUL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3.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1.png"/><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2.svg"/><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6C3825-3E1D-4DF5-96D3-9A36993EF95F}"/>
              </a:ext>
            </a:extLst>
          </p:cNvPr>
          <p:cNvGraphicFramePr>
            <a:graphicFrameLocks noChangeAspect="1"/>
          </p:cNvGraphicFramePr>
          <p:nvPr userDrawn="1">
            <p:custDataLst>
              <p:tags r:id="rId53"/>
            </p:custDataLst>
            <p:extLst>
              <p:ext uri="{D42A27DB-BD31-4B8C-83A1-F6EECF244321}">
                <p14:modId xmlns:p14="http://schemas.microsoft.com/office/powerpoint/2010/main" val="3820116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4" imgW="421" imgH="423" progId="TCLayout.ActiveDocument.1">
                  <p:embed/>
                </p:oleObj>
              </mc:Choice>
              <mc:Fallback>
                <p:oleObj name="think-cell Slide" r:id="rId54" imgW="421" imgH="423" progId="TCLayout.ActiveDocument.1">
                  <p:embed/>
                  <p:pic>
                    <p:nvPicPr>
                      <p:cNvPr id="5" name="Object 4" hidden="1">
                        <a:extLst>
                          <a:ext uri="{FF2B5EF4-FFF2-40B4-BE49-F238E27FC236}">
                            <a16:creationId xmlns:a16="http://schemas.microsoft.com/office/drawing/2014/main" id="{186C3825-3E1D-4DF5-96D3-9A36993EF95F}"/>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CA389D2-B493-486D-8825-0FF07177B362}"/>
              </a:ext>
            </a:extLst>
          </p:cNvPr>
          <p:cNvSpPr>
            <a:spLocks noGrp="1"/>
          </p:cNvSpPr>
          <p:nvPr>
            <p:ph type="title"/>
          </p:nvPr>
        </p:nvSpPr>
        <p:spPr>
          <a:xfrm>
            <a:off x="587375" y="393192"/>
            <a:ext cx="10980738" cy="548640"/>
          </a:xfrm>
          <a:prstGeom prst="rect">
            <a:avLst/>
          </a:prstGeom>
        </p:spPr>
        <p:txBody>
          <a:bodyPr vert="horz" lIns="91440" tIns="45720" rIns="91440" bIns="45720" rtlCol="0" anchor="ctr">
            <a:noAutofit/>
          </a:bodyPr>
          <a:lstStyle/>
          <a:p>
            <a:r>
              <a:rPr lang="en-US"/>
              <a:t>Heading 1 placeholder</a:t>
            </a:r>
            <a:endParaRPr lang="en-GB"/>
          </a:p>
        </p:txBody>
      </p:sp>
      <p:sp>
        <p:nvSpPr>
          <p:cNvPr id="3" name="Text Placeholder 2">
            <a:extLst>
              <a:ext uri="{FF2B5EF4-FFF2-40B4-BE49-F238E27FC236}">
                <a16:creationId xmlns:a16="http://schemas.microsoft.com/office/drawing/2014/main" id="{6023600C-336C-49A3-99F2-4201BC9F031F}"/>
              </a:ext>
            </a:extLst>
          </p:cNvPr>
          <p:cNvSpPr>
            <a:spLocks noGrp="1"/>
          </p:cNvSpPr>
          <p:nvPr>
            <p:ph type="body" idx="1"/>
          </p:nvPr>
        </p:nvSpPr>
        <p:spPr>
          <a:xfrm>
            <a:off x="587375" y="1423348"/>
            <a:ext cx="10980738" cy="4288786"/>
          </a:xfrm>
          <a:prstGeom prst="rect">
            <a:avLst/>
          </a:prstGeom>
        </p:spPr>
        <p:txBody>
          <a:bodyPr vert="horz" lIns="91440" tIns="45720" rIns="91440" bIns="45720" rtlCol="0">
            <a:noAutofit/>
          </a:bodyPr>
          <a:lstStyle/>
          <a:p>
            <a:pPr lvl="0"/>
            <a:r>
              <a:rPr lang="en-US"/>
              <a:t>Bullet level 1</a:t>
            </a:r>
          </a:p>
          <a:p>
            <a:pPr lvl="1"/>
            <a:r>
              <a:rPr lang="en-US"/>
              <a:t>Bullet level 2</a:t>
            </a:r>
          </a:p>
          <a:p>
            <a:pPr lvl="2"/>
            <a:r>
              <a:rPr lang="en-US"/>
              <a:t>Bullet level 3</a:t>
            </a:r>
          </a:p>
        </p:txBody>
      </p:sp>
      <p:sp>
        <p:nvSpPr>
          <p:cNvPr id="7" name="Date Placeholder 6">
            <a:extLst>
              <a:ext uri="{FF2B5EF4-FFF2-40B4-BE49-F238E27FC236}">
                <a16:creationId xmlns:a16="http://schemas.microsoft.com/office/drawing/2014/main" id="{9E123292-2A87-4AF6-B8B3-F0150F63693D}"/>
              </a:ext>
            </a:extLst>
          </p:cNvPr>
          <p:cNvSpPr>
            <a:spLocks noGrp="1"/>
          </p:cNvSpPr>
          <p:nvPr>
            <p:ph type="dt" sz="half" idx="2"/>
          </p:nvPr>
        </p:nvSpPr>
        <p:spPr>
          <a:xfrm>
            <a:off x="587375" y="6483349"/>
            <a:ext cx="2743200" cy="228600"/>
          </a:xfrm>
          <a:prstGeom prst="rect">
            <a:avLst/>
          </a:prstGeom>
        </p:spPr>
        <p:txBody>
          <a:bodyPr vert="horz" lIns="91440" tIns="45720" rIns="91440" bIns="45720" rtlCol="0" anchor="ctr"/>
          <a:lstStyle>
            <a:lvl1pPr algn="l">
              <a:defRPr sz="1000">
                <a:solidFill>
                  <a:schemeClr val="tx2"/>
                </a:solidFill>
                <a:latin typeface="Segoe UI" panose="020B0502040204020203" pitchFamily="34" charset="0"/>
                <a:cs typeface="Segoe UI" panose="020B0502040204020203" pitchFamily="34" charset="0"/>
              </a:defRPr>
            </a:lvl1pPr>
          </a:lstStyle>
          <a:p>
            <a:endParaRPr lang="en-GB"/>
          </a:p>
        </p:txBody>
      </p:sp>
      <p:sp>
        <p:nvSpPr>
          <p:cNvPr id="15" name="Slide Number Placeholder 2">
            <a:extLst>
              <a:ext uri="{FF2B5EF4-FFF2-40B4-BE49-F238E27FC236}">
                <a16:creationId xmlns:a16="http://schemas.microsoft.com/office/drawing/2014/main" id="{A46C5588-9B8B-4C9D-80E4-B239675369C7}"/>
              </a:ext>
            </a:extLst>
          </p:cNvPr>
          <p:cNvSpPr txBox="1">
            <a:spLocks/>
          </p:cNvSpPr>
          <p:nvPr userDrawn="1"/>
        </p:nvSpPr>
        <p:spPr>
          <a:xfrm>
            <a:off x="11494008" y="6476999"/>
            <a:ext cx="382601" cy="228600"/>
          </a:xfrm>
          <a:prstGeom prst="rect">
            <a:avLst/>
          </a:prstGeom>
        </p:spPr>
        <p:txBody>
          <a:bodyPr vert="horz" lIns="91440" tIns="0" rIns="91440" bIns="0" rtlCol="0" anchor="ctr" anchorCtr="0"/>
          <a:lstStyle>
            <a:defPPr>
              <a:defRPr lang="en-US"/>
            </a:defPPr>
            <a:lvl1pPr algn="r">
              <a:defRPr sz="1000">
                <a:solidFill>
                  <a:srgbClr val="E0044E"/>
                </a:solidFill>
                <a:latin typeface="Segoe UI" panose="020B0502040204020203" pitchFamily="34" charset="0"/>
                <a:cs typeface="Segoe UI" panose="020B0502040204020203" pitchFamily="34" charset="0"/>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lvl="0"/>
            <a:fld id="{E20330FD-FE2A-483E-B0C7-29AD7FB3CAEB}" type="slidenum">
              <a:rPr lang="en-GB" noProof="0" smtClean="0">
                <a:solidFill>
                  <a:schemeClr val="tx1"/>
                </a:solidFill>
              </a:rPr>
              <a:pPr lvl="0"/>
              <a:t>‹#›</a:t>
            </a:fld>
            <a:endParaRPr lang="en-GB" noProof="0">
              <a:solidFill>
                <a:schemeClr val="tx1"/>
              </a:solidFill>
            </a:endParaRPr>
          </a:p>
        </p:txBody>
      </p:sp>
      <p:pic>
        <p:nvPicPr>
          <p:cNvPr id="11" name="Graphic 10">
            <a:extLst>
              <a:ext uri="{FF2B5EF4-FFF2-40B4-BE49-F238E27FC236}">
                <a16:creationId xmlns:a16="http://schemas.microsoft.com/office/drawing/2014/main" id="{90144871-214A-4AF1-B8CB-DA018542F895}"/>
              </a:ext>
            </a:extLst>
          </p:cNvPr>
          <p:cNvPicPr>
            <a:picLocks/>
          </p:cNvPicPr>
          <p:nvPr userDrawn="1"/>
        </p:nvPicPr>
        <p:blipFill>
          <a:blip r:embed="rId56" cstate="email">
            <a:extLst>
              <a:ext uri="{28A0092B-C50C-407E-A947-70E740481C1C}">
                <a14:useLocalDpi xmlns:a14="http://schemas.microsoft.com/office/drawing/2010/main"/>
              </a:ext>
              <a:ext uri="{96DAC541-7B7A-43D3-8B79-37D633B846F1}">
                <asvg:svgBlip xmlns:asvg="http://schemas.microsoft.com/office/drawing/2016/SVG/main" r:embed="rId57"/>
              </a:ext>
            </a:extLst>
          </a:blip>
          <a:stretch>
            <a:fillRect/>
          </a:stretch>
        </p:blipFill>
        <p:spPr>
          <a:xfrm>
            <a:off x="10607040" y="6556248"/>
            <a:ext cx="813816" cy="82296"/>
          </a:xfrm>
          <a:prstGeom prst="rect">
            <a:avLst/>
          </a:prstGeom>
        </p:spPr>
      </p:pic>
    </p:spTree>
    <p:custDataLst>
      <p:tags r:id="rId52"/>
    </p:custDataLst>
    <p:extLst>
      <p:ext uri="{BB962C8B-B14F-4D97-AF65-F5344CB8AC3E}">
        <p14:creationId xmlns:p14="http://schemas.microsoft.com/office/powerpoint/2010/main" val="1786572581"/>
      </p:ext>
    </p:extLst>
  </p:cSld>
  <p:clrMap bg1="lt1" tx1="dk1" bg2="lt2" tx2="dk2" accent1="accent1" accent2="accent2" accent3="accent3" accent4="accent4" accent5="accent5" accent6="accent6" hlink="hlink" folHlink="folHlink"/>
  <p:sldLayoutIdLst>
    <p:sldLayoutId id="2147483919" r:id="rId1"/>
    <p:sldLayoutId id="2147483937" r:id="rId2"/>
    <p:sldLayoutId id="2147483904" r:id="rId3"/>
    <p:sldLayoutId id="2147483660" r:id="rId4"/>
    <p:sldLayoutId id="2147483900" r:id="rId5"/>
    <p:sldLayoutId id="2147483905" r:id="rId6"/>
    <p:sldLayoutId id="2147483686" r:id="rId7"/>
    <p:sldLayoutId id="2147483662" r:id="rId8"/>
    <p:sldLayoutId id="2147483663" r:id="rId9"/>
    <p:sldLayoutId id="2147483664" r:id="rId10"/>
    <p:sldLayoutId id="2147483902" r:id="rId11"/>
    <p:sldLayoutId id="2147483697" r:id="rId12"/>
    <p:sldLayoutId id="2147483696" r:id="rId13"/>
    <p:sldLayoutId id="2147483667" r:id="rId14"/>
    <p:sldLayoutId id="2147483688" r:id="rId15"/>
    <p:sldLayoutId id="2147483668" r:id="rId16"/>
    <p:sldLayoutId id="2147483704" r:id="rId17"/>
    <p:sldLayoutId id="2147483701" r:id="rId18"/>
    <p:sldLayoutId id="2147483906" r:id="rId19"/>
    <p:sldLayoutId id="2147483689" r:id="rId20"/>
    <p:sldLayoutId id="2147483907" r:id="rId21"/>
    <p:sldLayoutId id="2147483690" r:id="rId22"/>
    <p:sldLayoutId id="2147483908" r:id="rId23"/>
    <p:sldLayoutId id="2147483691" r:id="rId24"/>
    <p:sldLayoutId id="2147483910" r:id="rId25"/>
    <p:sldLayoutId id="2147483672" r:id="rId26"/>
    <p:sldLayoutId id="2147483674" r:id="rId27"/>
    <p:sldLayoutId id="2147483675" r:id="rId28"/>
    <p:sldLayoutId id="2147483676" r:id="rId29"/>
    <p:sldLayoutId id="2147483692" r:id="rId30"/>
    <p:sldLayoutId id="2147483677" r:id="rId31"/>
    <p:sldLayoutId id="2147483693" r:id="rId32"/>
    <p:sldLayoutId id="2147483678" r:id="rId33"/>
    <p:sldLayoutId id="2147483694" r:id="rId34"/>
    <p:sldLayoutId id="2147483679" r:id="rId35"/>
    <p:sldLayoutId id="2147483680" r:id="rId36"/>
    <p:sldLayoutId id="2147483695" r:id="rId37"/>
    <p:sldLayoutId id="2147483654" r:id="rId38"/>
    <p:sldLayoutId id="2147483702" r:id="rId39"/>
    <p:sldLayoutId id="2147483655" r:id="rId40"/>
    <p:sldLayoutId id="2147483681" r:id="rId41"/>
    <p:sldLayoutId id="2147483682" r:id="rId42"/>
    <p:sldLayoutId id="2147483683" r:id="rId43"/>
    <p:sldLayoutId id="2147483699" r:id="rId44"/>
    <p:sldLayoutId id="2147483684" r:id="rId45"/>
    <p:sldLayoutId id="2147483903" r:id="rId46"/>
    <p:sldLayoutId id="2147483920" r:id="rId47"/>
    <p:sldLayoutId id="2147483912" r:id="rId48"/>
    <p:sldLayoutId id="2147483935" r:id="rId49"/>
    <p:sldLayoutId id="2147483936" r:id="rId50"/>
  </p:sldLayoutIdLst>
  <p:hf hdr="0" dt="0"/>
  <p:txStyles>
    <p:titleStyle>
      <a:lvl1pPr algn="l" defTabSz="914400" rtl="0" eaLnBrk="1" latinLnBrk="0" hangingPunct="1">
        <a:lnSpc>
          <a:spcPct val="90000"/>
        </a:lnSpc>
        <a:spcBef>
          <a:spcPct val="0"/>
        </a:spcBef>
        <a:buNone/>
        <a:defRPr sz="3200" b="1" kern="1200">
          <a:solidFill>
            <a:schemeClr val="accent1"/>
          </a:solidFill>
          <a:latin typeface="Segoe UI" panose="020B0502040204020203" pitchFamily="34" charset="0"/>
          <a:ea typeface="Segoe UI" panose="020B0502040204020203" pitchFamily="34" charset="0"/>
          <a:cs typeface="Segoe UI" panose="020B0502040204020203" pitchFamily="34" charset="0"/>
        </a:defRPr>
      </a:lvl1pPr>
    </p:titleStyle>
    <p:bodyStyle>
      <a:lvl1pPr marL="228600" indent="-228600" algn="l" defTabSz="914400" rtl="0" eaLnBrk="1" latinLnBrk="0" hangingPunct="1">
        <a:lnSpc>
          <a:spcPct val="100000"/>
        </a:lnSpc>
        <a:spcBef>
          <a:spcPts val="600"/>
        </a:spcBef>
        <a:spcAft>
          <a:spcPts val="300"/>
        </a:spcAft>
        <a:buClr>
          <a:schemeClr val="tx1"/>
        </a:buClr>
        <a:buSzPct val="130000"/>
        <a:buFont typeface="Arial" panose="020B0604020202020204"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228600" algn="l" defTabSz="914400" rtl="0" eaLnBrk="1" latinLnBrk="0" hangingPunct="1">
        <a:lnSpc>
          <a:spcPct val="100000"/>
        </a:lnSpc>
        <a:spcBef>
          <a:spcPts val="600"/>
        </a:spcBef>
        <a:spcAft>
          <a:spcPts val="300"/>
        </a:spcAft>
        <a:buClr>
          <a:schemeClr val="tx1"/>
        </a:buClr>
        <a:buFont typeface="Segoe UI" panose="020B0502040204020203"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685800" indent="-228600" algn="l" defTabSz="914400" rtl="0" eaLnBrk="1" latinLnBrk="0" hangingPunct="1">
        <a:lnSpc>
          <a:spcPct val="100000"/>
        </a:lnSpc>
        <a:spcBef>
          <a:spcPts val="600"/>
        </a:spcBef>
        <a:spcAft>
          <a:spcPts val="300"/>
        </a:spcAft>
        <a:buClr>
          <a:schemeClr val="tx1"/>
        </a:buClr>
        <a:buSzPct val="100000"/>
        <a:buFont typeface="Courier New" panose="02070309020205020404" pitchFamily="49" charset="0"/>
        <a:buChar char="o"/>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914400" indent="-228600" algn="l" defTabSz="914400" rtl="0" eaLnBrk="1" latinLnBrk="0" hangingPunct="1">
        <a:lnSpc>
          <a:spcPct val="100000"/>
        </a:lnSpc>
        <a:spcBef>
          <a:spcPts val="600"/>
        </a:spcBef>
        <a:spcAft>
          <a:spcPts val="300"/>
        </a:spcAft>
        <a:buClr>
          <a:schemeClr val="tx1"/>
        </a:buClr>
        <a:buFont typeface="Arial" panose="020B0604020202020204"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143000" indent="-228600" algn="l" defTabSz="914400" rtl="0" eaLnBrk="1" latinLnBrk="0" hangingPunct="1">
        <a:lnSpc>
          <a:spcPct val="100000"/>
        </a:lnSpc>
        <a:spcBef>
          <a:spcPts val="600"/>
        </a:spcBef>
        <a:spcAft>
          <a:spcPts val="300"/>
        </a:spcAft>
        <a:buClr>
          <a:schemeClr val="tx1"/>
        </a:buClr>
        <a:buFont typeface="Arial" panose="020B0604020202020204"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1944000" indent="-342000" algn="l" defTabSz="914400" rtl="0" eaLnBrk="1" latinLnBrk="0" hangingPunct="1">
        <a:lnSpc>
          <a:spcPct val="90000"/>
        </a:lnSpc>
        <a:spcBef>
          <a:spcPts val="800"/>
        </a:spcBef>
        <a:buClr>
          <a:schemeClr val="tx1"/>
        </a:buClr>
        <a:buFont typeface="Arial" panose="020B0604020202020204" pitchFamily="34" charset="0"/>
        <a:buChar char="•"/>
        <a:defRPr sz="1600" b="0" i="0" kern="1200">
          <a:solidFill>
            <a:schemeClr val="tx1"/>
          </a:solidFill>
          <a:latin typeface="+mj-lt"/>
          <a:ea typeface="Lato" panose="020F0502020204030203" pitchFamily="34" charset="0"/>
          <a:cs typeface="Poppins" panose="00000500000000000000" pitchFamily="50" charset="0"/>
        </a:defRPr>
      </a:lvl6pPr>
      <a:lvl7pPr marL="2268000" indent="-342000" algn="l" defTabSz="914400" rtl="0" eaLnBrk="1" latinLnBrk="0" hangingPunct="1">
        <a:lnSpc>
          <a:spcPct val="90000"/>
        </a:lnSpc>
        <a:spcBef>
          <a:spcPts val="800"/>
        </a:spcBef>
        <a:buClr>
          <a:schemeClr val="tx1"/>
        </a:buClr>
        <a:buFont typeface="Arial" panose="020B0604020202020204" pitchFamily="34" charset="0"/>
        <a:buChar char="•"/>
        <a:defRPr sz="1600" b="0" i="0" kern="1200">
          <a:solidFill>
            <a:schemeClr val="tx1"/>
          </a:solidFill>
          <a:latin typeface="+mn-lt"/>
          <a:ea typeface="Lato" panose="020F0502020204030203" pitchFamily="34" charset="0"/>
          <a:cs typeface="Poppins" panose="00000500000000000000" pitchFamily="50" charset="0"/>
        </a:defRPr>
      </a:lvl7pPr>
      <a:lvl8pPr marL="2592000" indent="-342000" algn="l" defTabSz="914400" rtl="0" eaLnBrk="1" latinLnBrk="0" hangingPunct="1">
        <a:lnSpc>
          <a:spcPct val="90000"/>
        </a:lnSpc>
        <a:spcBef>
          <a:spcPts val="800"/>
        </a:spcBef>
        <a:buClr>
          <a:srgbClr val="E0044E"/>
        </a:buClr>
        <a:buFont typeface="Arial" panose="020B0604020202020204" pitchFamily="34" charset="0"/>
        <a:buChar char="•"/>
        <a:defRPr sz="1600" b="0" i="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2">
          <p15:clr>
            <a:srgbClr val="F26B43"/>
          </p15:clr>
        </p15:guide>
        <p15:guide id="2" pos="360">
          <p15:clr>
            <a:srgbClr val="F26B43"/>
          </p15:clr>
        </p15:guide>
        <p15:guide id="3" pos="7287">
          <p15:clr>
            <a:srgbClr val="F26B43"/>
          </p15:clr>
        </p15:guide>
        <p15:guide id="4" orient="horz" pos="4224">
          <p15:clr>
            <a:srgbClr val="F26B43"/>
          </p15:clr>
        </p15:guide>
        <p15:guide id="6" orient="horz" pos="888">
          <p15:clr>
            <a:srgbClr val="F26B43"/>
          </p15:clr>
        </p15:guide>
        <p15:guide id="7" orient="horz" pos="408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83.xml"/><Relationship Id="rId6" Type="http://schemas.openxmlformats.org/officeDocument/2006/relationships/image" Target="../media/image3.emf"/><Relationship Id="rId5" Type="http://schemas.openxmlformats.org/officeDocument/2006/relationships/oleObject" Target="../embeddings/oleObject29.bin"/><Relationship Id="rId4" Type="http://schemas.openxmlformats.org/officeDocument/2006/relationships/image" Target="../media/image22.jpeg"/></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5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notesSlide" Target="../notesSlides/notesSlide2.xml"/><Relationship Id="rId7" Type="http://schemas.openxmlformats.org/officeDocument/2006/relationships/image" Target="../media/image17.png"/><Relationship Id="rId2" Type="http://schemas.openxmlformats.org/officeDocument/2006/relationships/slideLayout" Target="../slideLayouts/slideLayout24.xml"/><Relationship Id="rId1" Type="http://schemas.openxmlformats.org/officeDocument/2006/relationships/tags" Target="../tags/tag84.xml"/><Relationship Id="rId6" Type="http://schemas.openxmlformats.org/officeDocument/2006/relationships/image" Target="../media/image23.jpeg"/><Relationship Id="rId5" Type="http://schemas.openxmlformats.org/officeDocument/2006/relationships/image" Target="../media/image3.emf"/><Relationship Id="rId4" Type="http://schemas.openxmlformats.org/officeDocument/2006/relationships/oleObject" Target="../embeddings/oleObject30.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85.xml"/><Relationship Id="rId6" Type="http://schemas.openxmlformats.org/officeDocument/2006/relationships/image" Target="../media/image25.jpg"/><Relationship Id="rId5" Type="http://schemas.openxmlformats.org/officeDocument/2006/relationships/image" Target="../media/image3.emf"/><Relationship Id="rId4" Type="http://schemas.openxmlformats.org/officeDocument/2006/relationships/oleObject" Target="../embeddings/oleObject31.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6.xml"/><Relationship Id="rId1" Type="http://schemas.openxmlformats.org/officeDocument/2006/relationships/tags" Target="../tags/tag86.xml"/><Relationship Id="rId5" Type="http://schemas.openxmlformats.org/officeDocument/2006/relationships/image" Target="../media/image3.emf"/><Relationship Id="rId4" Type="http://schemas.openxmlformats.org/officeDocument/2006/relationships/oleObject" Target="../embeddings/oleObject3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8.xml"/><Relationship Id="rId1" Type="http://schemas.openxmlformats.org/officeDocument/2006/relationships/tags" Target="../tags/tag87.xml"/><Relationship Id="rId6" Type="http://schemas.openxmlformats.org/officeDocument/2006/relationships/image" Target="../media/image26.png"/><Relationship Id="rId5" Type="http://schemas.openxmlformats.org/officeDocument/2006/relationships/image" Target="../media/image3.emf"/><Relationship Id="rId4" Type="http://schemas.openxmlformats.org/officeDocument/2006/relationships/oleObject" Target="../embeddings/oleObject33.bin"/></Relationships>
</file>

<file path=ppt/slides/_rels/slide6.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notesSlide" Target="../notesSlides/notesSlide6.xml"/><Relationship Id="rId7" Type="http://schemas.openxmlformats.org/officeDocument/2006/relationships/image" Target="../media/image27.jpeg"/><Relationship Id="rId2" Type="http://schemas.openxmlformats.org/officeDocument/2006/relationships/slideLayout" Target="../slideLayouts/slideLayout24.xml"/><Relationship Id="rId1" Type="http://schemas.openxmlformats.org/officeDocument/2006/relationships/tags" Target="../tags/tag88.xml"/><Relationship Id="rId6" Type="http://schemas.openxmlformats.org/officeDocument/2006/relationships/hyperlink" Target="https://www.kaggle.com/datasets/samayashar/fraud-detection-transactions-dataset?resource=download" TargetMode="External"/><Relationship Id="rId5" Type="http://schemas.openxmlformats.org/officeDocument/2006/relationships/image" Target="../media/image3.emf"/><Relationship Id="rId4" Type="http://schemas.openxmlformats.org/officeDocument/2006/relationships/oleObject" Target="../embeddings/oleObject3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9.xml"/><Relationship Id="rId1" Type="http://schemas.openxmlformats.org/officeDocument/2006/relationships/tags" Target="../tags/tag89.xml"/><Relationship Id="rId5" Type="http://schemas.openxmlformats.org/officeDocument/2006/relationships/image" Target="../media/image3.emf"/><Relationship Id="rId4" Type="http://schemas.openxmlformats.org/officeDocument/2006/relationships/oleObject" Target="../embeddings/oleObject35.bin"/></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4.xml"/><Relationship Id="rId5" Type="http://schemas.openxmlformats.org/officeDocument/2006/relationships/image" Target="../media/image32.png"/><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0.xml"/><Relationship Id="rId1" Type="http://schemas.openxmlformats.org/officeDocument/2006/relationships/tags" Target="../tags/tag90.xml"/><Relationship Id="rId6" Type="http://schemas.openxmlformats.org/officeDocument/2006/relationships/image" Target="../media/image33.png"/><Relationship Id="rId5" Type="http://schemas.openxmlformats.org/officeDocument/2006/relationships/image" Target="../media/image3.emf"/><Relationship Id="rId4" Type="http://schemas.openxmlformats.org/officeDocument/2006/relationships/oleObject" Target="../embeddings/oleObject36.bin"/></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773BAE7-8AFE-41AE-8F96-88531C6658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3" progId="TCLayout.ActiveDocument.1">
                  <p:embed/>
                </p:oleObj>
              </mc:Choice>
              <mc:Fallback>
                <p:oleObj name="think-cell Slide" r:id="rId5" imgW="421" imgH="423" progId="TCLayout.ActiveDocument.1">
                  <p:embed/>
                  <p:pic>
                    <p:nvPicPr>
                      <p:cNvPr id="5" name="Object 4" hidden="1">
                        <a:extLst>
                          <a:ext uri="{FF2B5EF4-FFF2-40B4-BE49-F238E27FC236}">
                            <a16:creationId xmlns:a16="http://schemas.microsoft.com/office/drawing/2014/main" id="{6773BAE7-8AFE-41AE-8F96-88531C6658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Rounded Corners 3">
            <a:extLst>
              <a:ext uri="{FF2B5EF4-FFF2-40B4-BE49-F238E27FC236}">
                <a16:creationId xmlns:a16="http://schemas.microsoft.com/office/drawing/2014/main" id="{1174615B-D227-4CAE-AD8A-5085A4D16585}"/>
              </a:ext>
            </a:extLst>
          </p:cNvPr>
          <p:cNvSpPr/>
          <p:nvPr/>
        </p:nvSpPr>
        <p:spPr>
          <a:xfrm>
            <a:off x="5385213" y="2657396"/>
            <a:ext cx="5342921" cy="78024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 Placeholder 2">
            <a:extLst>
              <a:ext uri="{FF2B5EF4-FFF2-40B4-BE49-F238E27FC236}">
                <a16:creationId xmlns:a16="http://schemas.microsoft.com/office/drawing/2014/main" id="{F0255CDF-0DBD-4865-8678-4A4F0C84C097}"/>
              </a:ext>
            </a:extLst>
          </p:cNvPr>
          <p:cNvSpPr>
            <a:spLocks noGrp="1"/>
          </p:cNvSpPr>
          <p:nvPr>
            <p:ph type="body" sz="quarter" idx="11"/>
          </p:nvPr>
        </p:nvSpPr>
        <p:spPr>
          <a:xfrm>
            <a:off x="1584134" y="2279463"/>
            <a:ext cx="9144000" cy="1177932"/>
          </a:xfrm>
        </p:spPr>
        <p:txBody>
          <a:bodyPr anchor="b"/>
          <a:lstStyle/>
          <a:p>
            <a:r>
              <a:rPr lang="en-US" dirty="0"/>
              <a:t>Credit card Fraud Detection</a:t>
            </a:r>
          </a:p>
        </p:txBody>
      </p:sp>
      <p:sp>
        <p:nvSpPr>
          <p:cNvPr id="8" name="Subtitle 7">
            <a:extLst>
              <a:ext uri="{FF2B5EF4-FFF2-40B4-BE49-F238E27FC236}">
                <a16:creationId xmlns:a16="http://schemas.microsoft.com/office/drawing/2014/main" id="{D7B68E4C-BF4F-71D1-AAAF-10271AFB4C0A}"/>
              </a:ext>
            </a:extLst>
          </p:cNvPr>
          <p:cNvSpPr>
            <a:spLocks noGrp="1"/>
          </p:cNvSpPr>
          <p:nvPr>
            <p:ph type="subTitle" idx="1"/>
          </p:nvPr>
        </p:nvSpPr>
        <p:spPr>
          <a:xfrm>
            <a:off x="1415143" y="3688245"/>
            <a:ext cx="9144000" cy="1258455"/>
          </a:xfrm>
        </p:spPr>
        <p:txBody>
          <a:bodyPr>
            <a:normAutofit/>
          </a:bodyPr>
          <a:lstStyle/>
          <a:p>
            <a:r>
              <a:rPr lang="en-IN" sz="2800" dirty="0">
                <a:latin typeface="Rockwell" panose="02060603020205020403" pitchFamily="18" charset="0"/>
              </a:rPr>
              <a:t>By – Kashish Vaid</a:t>
            </a:r>
          </a:p>
        </p:txBody>
      </p:sp>
    </p:spTree>
    <p:extLst>
      <p:ext uri="{BB962C8B-B14F-4D97-AF65-F5344CB8AC3E}">
        <p14:creationId xmlns:p14="http://schemas.microsoft.com/office/powerpoint/2010/main" val="27483701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B117F8F-04C7-6DE8-1516-351480D0BB60}"/>
              </a:ext>
            </a:extLst>
          </p:cNvPr>
          <p:cNvSpPr>
            <a:spLocks noGrp="1"/>
          </p:cNvSpPr>
          <p:nvPr>
            <p:ph type="body" sz="quarter" idx="18"/>
          </p:nvPr>
        </p:nvSpPr>
        <p:spPr/>
        <p:txBody>
          <a:bodyPr/>
          <a:lstStyle/>
          <a:p>
            <a:r>
              <a:rPr lang="en-IN" dirty="0"/>
              <a:t>Parameter</a:t>
            </a:r>
          </a:p>
        </p:txBody>
      </p:sp>
      <p:sp>
        <p:nvSpPr>
          <p:cNvPr id="3" name="Text Placeholder 2">
            <a:extLst>
              <a:ext uri="{FF2B5EF4-FFF2-40B4-BE49-F238E27FC236}">
                <a16:creationId xmlns:a16="http://schemas.microsoft.com/office/drawing/2014/main" id="{E8E39764-929C-5213-BECE-1C0395A4ABF9}"/>
              </a:ext>
            </a:extLst>
          </p:cNvPr>
          <p:cNvSpPr>
            <a:spLocks noGrp="1"/>
          </p:cNvSpPr>
          <p:nvPr>
            <p:ph type="body" sz="quarter" idx="19"/>
          </p:nvPr>
        </p:nvSpPr>
        <p:spPr/>
        <p:txBody>
          <a:bodyPr/>
          <a:lstStyle/>
          <a:p>
            <a:r>
              <a:rPr lang="en-IN" dirty="0"/>
              <a:t>Random Forest</a:t>
            </a:r>
          </a:p>
        </p:txBody>
      </p:sp>
      <p:sp>
        <p:nvSpPr>
          <p:cNvPr id="4" name="Text Placeholder 3">
            <a:extLst>
              <a:ext uri="{FF2B5EF4-FFF2-40B4-BE49-F238E27FC236}">
                <a16:creationId xmlns:a16="http://schemas.microsoft.com/office/drawing/2014/main" id="{BF0D6A7C-7D6B-5E43-C2A5-4B928047B211}"/>
              </a:ext>
            </a:extLst>
          </p:cNvPr>
          <p:cNvSpPr>
            <a:spLocks noGrp="1"/>
          </p:cNvSpPr>
          <p:nvPr>
            <p:ph type="body" sz="quarter" idx="20"/>
          </p:nvPr>
        </p:nvSpPr>
        <p:spPr/>
        <p:txBody>
          <a:bodyPr/>
          <a:lstStyle/>
          <a:p>
            <a:r>
              <a:rPr lang="en-IN" dirty="0" err="1"/>
              <a:t>XGBoost</a:t>
            </a:r>
            <a:endParaRPr lang="en-IN" dirty="0"/>
          </a:p>
        </p:txBody>
      </p:sp>
      <p:sp>
        <p:nvSpPr>
          <p:cNvPr id="5" name="Title 4">
            <a:extLst>
              <a:ext uri="{FF2B5EF4-FFF2-40B4-BE49-F238E27FC236}">
                <a16:creationId xmlns:a16="http://schemas.microsoft.com/office/drawing/2014/main" id="{5A2F36B0-E82F-7EBF-CA90-1B6A3E93B96A}"/>
              </a:ext>
            </a:extLst>
          </p:cNvPr>
          <p:cNvSpPr>
            <a:spLocks noGrp="1"/>
          </p:cNvSpPr>
          <p:nvPr>
            <p:ph type="title"/>
          </p:nvPr>
        </p:nvSpPr>
        <p:spPr/>
        <p:txBody>
          <a:bodyPr/>
          <a:lstStyle/>
          <a:p>
            <a:r>
              <a:rPr lang="en-IN" dirty="0"/>
              <a:t>Model Performance</a:t>
            </a:r>
          </a:p>
        </p:txBody>
      </p:sp>
      <p:sp>
        <p:nvSpPr>
          <p:cNvPr id="6" name="Text Placeholder 5">
            <a:extLst>
              <a:ext uri="{FF2B5EF4-FFF2-40B4-BE49-F238E27FC236}">
                <a16:creationId xmlns:a16="http://schemas.microsoft.com/office/drawing/2014/main" id="{8AB55FFE-BFAC-9B91-3E36-FCD224245569}"/>
              </a:ext>
            </a:extLst>
          </p:cNvPr>
          <p:cNvSpPr>
            <a:spLocks noGrp="1"/>
          </p:cNvSpPr>
          <p:nvPr>
            <p:ph type="body" sz="quarter" idx="21"/>
          </p:nvPr>
        </p:nvSpPr>
        <p:spPr/>
        <p:txBody>
          <a:bodyPr/>
          <a:lstStyle/>
          <a:p>
            <a:pPr marL="285750" indent="-285750" algn="ctr">
              <a:lnSpc>
                <a:spcPct val="150000"/>
              </a:lnSpc>
              <a:buFontTx/>
              <a:buChar char="-"/>
            </a:pPr>
            <a:r>
              <a:rPr lang="en-IN" dirty="0"/>
              <a:t>Accuracy</a:t>
            </a:r>
          </a:p>
          <a:p>
            <a:pPr marL="285750" indent="-285750" algn="ctr">
              <a:lnSpc>
                <a:spcPct val="150000"/>
              </a:lnSpc>
              <a:buFontTx/>
              <a:buChar char="-"/>
            </a:pPr>
            <a:r>
              <a:rPr lang="en-IN" dirty="0"/>
              <a:t>Recall</a:t>
            </a:r>
          </a:p>
          <a:p>
            <a:pPr marL="285750" indent="-285750" algn="ctr">
              <a:lnSpc>
                <a:spcPct val="150000"/>
              </a:lnSpc>
              <a:buFontTx/>
              <a:buChar char="-"/>
            </a:pPr>
            <a:r>
              <a:rPr lang="en-IN" dirty="0"/>
              <a:t>Precision</a:t>
            </a:r>
          </a:p>
          <a:p>
            <a:pPr marL="285750" indent="-285750" algn="ctr">
              <a:lnSpc>
                <a:spcPct val="150000"/>
              </a:lnSpc>
              <a:buFontTx/>
              <a:buChar char="-"/>
            </a:pPr>
            <a:r>
              <a:rPr lang="en-IN" dirty="0"/>
              <a:t>F1 Score</a:t>
            </a:r>
          </a:p>
          <a:p>
            <a:pPr marL="285750" indent="-285750" algn="ctr">
              <a:lnSpc>
                <a:spcPct val="150000"/>
              </a:lnSpc>
              <a:buFontTx/>
              <a:buChar char="-"/>
            </a:pPr>
            <a:r>
              <a:rPr lang="en-IN" dirty="0"/>
              <a:t>Confusion Matrix</a:t>
            </a:r>
          </a:p>
        </p:txBody>
      </p:sp>
      <p:sp>
        <p:nvSpPr>
          <p:cNvPr id="7" name="Text Placeholder 6">
            <a:extLst>
              <a:ext uri="{FF2B5EF4-FFF2-40B4-BE49-F238E27FC236}">
                <a16:creationId xmlns:a16="http://schemas.microsoft.com/office/drawing/2014/main" id="{0ED73BDA-3B03-1AA6-C7CE-888D0CF456FD}"/>
              </a:ext>
            </a:extLst>
          </p:cNvPr>
          <p:cNvSpPr>
            <a:spLocks noGrp="1"/>
          </p:cNvSpPr>
          <p:nvPr>
            <p:ph type="body" sz="quarter" idx="22"/>
          </p:nvPr>
        </p:nvSpPr>
        <p:spPr/>
        <p:txBody>
          <a:bodyPr vert="horz" lIns="91440" tIns="45720" rIns="91440" bIns="45720" rtlCol="0">
            <a:noAutofit/>
          </a:bodyPr>
          <a:lstStyle/>
          <a:p>
            <a:pPr marL="285750" indent="-285750" algn="ctr">
              <a:lnSpc>
                <a:spcPct val="150000"/>
              </a:lnSpc>
              <a:buChar char="-"/>
            </a:pPr>
            <a:r>
              <a:rPr lang="en-IN" dirty="0"/>
              <a:t>100%</a:t>
            </a:r>
          </a:p>
          <a:p>
            <a:pPr marL="285750" indent="-285750" algn="ctr">
              <a:lnSpc>
                <a:spcPct val="150000"/>
              </a:lnSpc>
              <a:buChar char="-"/>
            </a:pPr>
            <a:r>
              <a:rPr lang="en-IN" dirty="0"/>
              <a:t>100%</a:t>
            </a:r>
          </a:p>
          <a:p>
            <a:pPr marL="285750" indent="-285750" algn="ctr">
              <a:lnSpc>
                <a:spcPct val="150000"/>
              </a:lnSpc>
              <a:buChar char="-"/>
            </a:pPr>
            <a:r>
              <a:rPr lang="en-IN" dirty="0"/>
              <a:t>100%</a:t>
            </a:r>
          </a:p>
          <a:p>
            <a:pPr marL="285750" indent="-285750" algn="ctr">
              <a:lnSpc>
                <a:spcPct val="150000"/>
              </a:lnSpc>
              <a:buChar char="-"/>
            </a:pPr>
            <a:r>
              <a:rPr lang="en-IN" dirty="0"/>
              <a:t>100%</a:t>
            </a:r>
          </a:p>
          <a:p>
            <a:pPr marL="285750" indent="-285750" algn="ctr">
              <a:lnSpc>
                <a:spcPct val="150000"/>
              </a:lnSpc>
              <a:buChar char="-"/>
            </a:pPr>
            <a:endParaRPr lang="en-IN" dirty="0"/>
          </a:p>
        </p:txBody>
      </p:sp>
      <p:sp>
        <p:nvSpPr>
          <p:cNvPr id="8" name="Text Placeholder 7">
            <a:extLst>
              <a:ext uri="{FF2B5EF4-FFF2-40B4-BE49-F238E27FC236}">
                <a16:creationId xmlns:a16="http://schemas.microsoft.com/office/drawing/2014/main" id="{D70076F5-8EC1-71BB-CBDA-4090F13C0917}"/>
              </a:ext>
            </a:extLst>
          </p:cNvPr>
          <p:cNvSpPr>
            <a:spLocks noGrp="1"/>
          </p:cNvSpPr>
          <p:nvPr>
            <p:ph type="body" sz="quarter" idx="23"/>
          </p:nvPr>
        </p:nvSpPr>
        <p:spPr/>
        <p:txBody>
          <a:bodyPr vert="horz" lIns="91440" tIns="45720" rIns="91440" bIns="45720" rtlCol="0">
            <a:noAutofit/>
          </a:bodyPr>
          <a:lstStyle/>
          <a:p>
            <a:pPr marL="285750" indent="-285750" algn="ctr">
              <a:lnSpc>
                <a:spcPct val="150000"/>
              </a:lnSpc>
              <a:buChar char="-"/>
            </a:pPr>
            <a:r>
              <a:rPr lang="en-IN" dirty="0"/>
              <a:t>99.96%</a:t>
            </a:r>
          </a:p>
          <a:p>
            <a:pPr marL="285750" indent="-285750" algn="ctr">
              <a:lnSpc>
                <a:spcPct val="150000"/>
              </a:lnSpc>
              <a:buChar char="-"/>
            </a:pPr>
            <a:r>
              <a:rPr lang="en-IN" dirty="0"/>
              <a:t>99.91%</a:t>
            </a:r>
          </a:p>
          <a:p>
            <a:pPr marL="285750" indent="-285750" algn="ctr">
              <a:lnSpc>
                <a:spcPct val="150000"/>
              </a:lnSpc>
              <a:buChar char="-"/>
            </a:pPr>
            <a:r>
              <a:rPr lang="en-IN" dirty="0"/>
              <a:t>99.97 %</a:t>
            </a:r>
          </a:p>
          <a:p>
            <a:pPr marL="285750" indent="-285750" algn="ctr">
              <a:lnSpc>
                <a:spcPct val="150000"/>
              </a:lnSpc>
              <a:buChar char="-"/>
            </a:pPr>
            <a:r>
              <a:rPr lang="en-IN" dirty="0"/>
              <a:t>99.94%</a:t>
            </a:r>
          </a:p>
        </p:txBody>
      </p:sp>
      <p:pic>
        <p:nvPicPr>
          <p:cNvPr id="10" name="Picture 9">
            <a:extLst>
              <a:ext uri="{FF2B5EF4-FFF2-40B4-BE49-F238E27FC236}">
                <a16:creationId xmlns:a16="http://schemas.microsoft.com/office/drawing/2014/main" id="{31B91971-47BA-A0C1-EF57-AB40A5BEFE44}"/>
              </a:ext>
            </a:extLst>
          </p:cNvPr>
          <p:cNvPicPr>
            <a:picLocks noChangeAspect="1"/>
          </p:cNvPicPr>
          <p:nvPr/>
        </p:nvPicPr>
        <p:blipFill>
          <a:blip r:embed="rId2"/>
          <a:stretch>
            <a:fillRect/>
          </a:stretch>
        </p:blipFill>
        <p:spPr>
          <a:xfrm>
            <a:off x="8402051" y="4245429"/>
            <a:ext cx="3365986" cy="2219379"/>
          </a:xfrm>
          <a:prstGeom prst="rect">
            <a:avLst/>
          </a:prstGeom>
        </p:spPr>
      </p:pic>
      <p:pic>
        <p:nvPicPr>
          <p:cNvPr id="12" name="Picture 11">
            <a:extLst>
              <a:ext uri="{FF2B5EF4-FFF2-40B4-BE49-F238E27FC236}">
                <a16:creationId xmlns:a16="http://schemas.microsoft.com/office/drawing/2014/main" id="{FD4A93DD-5C8F-A57F-5E82-DC1CE6458261}"/>
              </a:ext>
            </a:extLst>
          </p:cNvPr>
          <p:cNvPicPr>
            <a:picLocks noChangeAspect="1"/>
          </p:cNvPicPr>
          <p:nvPr/>
        </p:nvPicPr>
        <p:blipFill>
          <a:blip r:embed="rId3"/>
          <a:stretch>
            <a:fillRect/>
          </a:stretch>
        </p:blipFill>
        <p:spPr>
          <a:xfrm>
            <a:off x="4250914" y="4255795"/>
            <a:ext cx="3492170" cy="2385009"/>
          </a:xfrm>
          <a:prstGeom prst="rect">
            <a:avLst/>
          </a:prstGeom>
        </p:spPr>
      </p:pic>
    </p:spTree>
    <p:extLst>
      <p:ext uri="{BB962C8B-B14F-4D97-AF65-F5344CB8AC3E}">
        <p14:creationId xmlns:p14="http://schemas.microsoft.com/office/powerpoint/2010/main" val="26605747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EDD88C42-E6B1-84BF-1289-51B555A8A9EB}"/>
              </a:ext>
            </a:extLst>
          </p:cNvPr>
          <p:cNvSpPr>
            <a:spLocks noGrp="1"/>
          </p:cNvSpPr>
          <p:nvPr>
            <p:ph type="subTitle" idx="1"/>
          </p:nvPr>
        </p:nvSpPr>
        <p:spPr>
          <a:xfrm>
            <a:off x="369661" y="1664029"/>
            <a:ext cx="7157357" cy="3290456"/>
          </a:xfrm>
        </p:spPr>
        <p:txBody>
          <a:bodyPr>
            <a:normAutofit lnSpcReduction="10000"/>
          </a:bodyPr>
          <a:lstStyle/>
          <a:p>
            <a:pPr marL="285750" indent="-285750">
              <a:buFont typeface="Arial" panose="020B0604020202020204" pitchFamily="34" charset="0"/>
              <a:buChar char="•"/>
            </a:pPr>
            <a:r>
              <a:rPr lang="en-US" sz="1800" dirty="0"/>
              <a:t>Fraud cases are usually rare, so class imbalance can lead to the model being biased toward non-fraud cases.</a:t>
            </a:r>
          </a:p>
          <a:p>
            <a:pPr marL="285750" indent="-285750">
              <a:buFont typeface="Arial" panose="020B0604020202020204" pitchFamily="34" charset="0"/>
              <a:buChar char="•"/>
            </a:pPr>
            <a:r>
              <a:rPr lang="en-US" altLang="en-US" sz="1800" dirty="0">
                <a:latin typeface="Arial" panose="020B0604020202020204" pitchFamily="34" charset="0"/>
              </a:rPr>
              <a:t>Adjust </a:t>
            </a:r>
            <a:r>
              <a:rPr lang="en-US" altLang="en-US" sz="1800" b="1" dirty="0" err="1">
                <a:latin typeface="Arial" panose="020B0604020202020204" pitchFamily="34" charset="0"/>
              </a:rPr>
              <a:t>XGBoost’s</a:t>
            </a:r>
            <a:r>
              <a:rPr lang="en-US" altLang="en-US" sz="1800" b="1" dirty="0">
                <a:latin typeface="Arial" panose="020B0604020202020204" pitchFamily="34" charset="0"/>
              </a:rPr>
              <a:t> </a:t>
            </a:r>
            <a:r>
              <a:rPr lang="en-US" altLang="en-US" sz="1800" b="1" dirty="0" err="1">
                <a:latin typeface="Arial" panose="020B0604020202020204" pitchFamily="34" charset="0"/>
              </a:rPr>
              <a:t>scale_pos_weight</a:t>
            </a:r>
            <a:r>
              <a:rPr lang="en-US" altLang="en-US" sz="1800" dirty="0">
                <a:latin typeface="Arial" panose="020B0604020202020204" pitchFamily="34" charset="0"/>
              </a:rPr>
              <a:t> to give more importance to fraud cases.</a:t>
            </a:r>
          </a:p>
          <a:p>
            <a:pPr marL="285750" indent="-285750">
              <a:buFont typeface="Arial" panose="020B0604020202020204" pitchFamily="34" charset="0"/>
              <a:buChar char="•"/>
            </a:pPr>
            <a:r>
              <a:rPr lang="en-US" altLang="en-US" sz="1800" dirty="0">
                <a:latin typeface="Arial" panose="020B0604020202020204" pitchFamily="34" charset="0"/>
              </a:rPr>
              <a:t>Experiment with </a:t>
            </a:r>
            <a:r>
              <a:rPr lang="en-US" altLang="en-US" sz="1800" b="1" dirty="0">
                <a:latin typeface="Arial" panose="020B0604020202020204" pitchFamily="34" charset="0"/>
              </a:rPr>
              <a:t>different loss functions</a:t>
            </a:r>
            <a:r>
              <a:rPr lang="en-US" altLang="en-US" sz="1800" dirty="0">
                <a:latin typeface="Arial" panose="020B0604020202020204" pitchFamily="34" charset="0"/>
              </a:rPr>
              <a:t> like </a:t>
            </a:r>
            <a:r>
              <a:rPr lang="en-US" altLang="en-US" sz="1800" dirty="0">
                <a:latin typeface="Arial Unicode MS"/>
              </a:rPr>
              <a:t>AUC-PR</a:t>
            </a:r>
            <a:r>
              <a:rPr lang="en-US" altLang="en-US" sz="1800" dirty="0"/>
              <a:t> (Area Under Precision-Recall Curve) instead of accuracy to better handle imbalanced data.</a:t>
            </a:r>
            <a:r>
              <a:rPr lang="en-US" altLang="en-US" sz="1800" dirty="0">
                <a:latin typeface="Arial" panose="020B0604020202020204" pitchFamily="34" charset="0"/>
              </a:rPr>
              <a:t> </a:t>
            </a:r>
          </a:p>
          <a:p>
            <a:pPr marL="285750" indent="-285750">
              <a:buFont typeface="Arial" panose="020B0604020202020204" pitchFamily="34" charset="0"/>
              <a:buChar char="•"/>
            </a:pPr>
            <a:r>
              <a:rPr lang="en-IN" sz="1800" dirty="0"/>
              <a:t>Perform </a:t>
            </a:r>
            <a:r>
              <a:rPr lang="en-IN" sz="1800" b="1" dirty="0"/>
              <a:t>feature importance analysis</a:t>
            </a:r>
            <a:r>
              <a:rPr lang="en-IN" sz="1800" dirty="0"/>
              <a:t> </a:t>
            </a:r>
            <a:endParaRPr lang="en-US" sz="1800" dirty="0">
              <a:latin typeface="Arial" panose="020B0604020202020204" pitchFamily="34" charset="0"/>
            </a:endParaRPr>
          </a:p>
          <a:p>
            <a:pPr marL="285750" indent="-285750">
              <a:buFont typeface="Arial" panose="020B0604020202020204" pitchFamily="34" charset="0"/>
              <a:buChar char="•"/>
            </a:pPr>
            <a:r>
              <a:rPr lang="en-US" sz="1800" dirty="0"/>
              <a:t>Engineer </a:t>
            </a:r>
            <a:r>
              <a:rPr lang="en-US" sz="1800" b="1" dirty="0"/>
              <a:t>new features</a:t>
            </a:r>
            <a:r>
              <a:rPr lang="en-US" sz="1800" dirty="0"/>
              <a:t> such as transaction velocity (number of transactions per hour/day) and merchant credibility scores</a:t>
            </a:r>
          </a:p>
          <a:p>
            <a:pPr lvl="1" algn="l" eaLnBrk="0" fontAlgn="base" hangingPunct="0">
              <a:spcBef>
                <a:spcPct val="0"/>
              </a:spcBef>
              <a:spcAft>
                <a:spcPct val="0"/>
              </a:spcAft>
              <a:buClrTx/>
              <a:buFontTx/>
              <a:buChar char="•"/>
            </a:pPr>
            <a:endParaRPr lang="en-US" sz="1800" dirty="0">
              <a:solidFill>
                <a:schemeClr val="bg1"/>
              </a:solidFill>
            </a:endParaRPr>
          </a:p>
          <a:p>
            <a:pPr lvl="1" algn="l" eaLnBrk="0" fontAlgn="base" hangingPunct="0">
              <a:spcBef>
                <a:spcPct val="0"/>
              </a:spcBef>
              <a:spcAft>
                <a:spcPct val="0"/>
              </a:spcAft>
              <a:buClrTx/>
              <a:buFontTx/>
              <a:buChar char="•"/>
            </a:pPr>
            <a:endParaRPr lang="en-US" sz="1800" dirty="0">
              <a:solidFill>
                <a:schemeClr val="bg1"/>
              </a:solidFill>
              <a:latin typeface="Arial" panose="020B0604020202020204" pitchFamily="34" charset="0"/>
            </a:endParaRPr>
          </a:p>
          <a:p>
            <a:pPr lvl="1" algn="l" eaLnBrk="0" fontAlgn="base" hangingPunct="0">
              <a:spcBef>
                <a:spcPct val="0"/>
              </a:spcBef>
              <a:spcAft>
                <a:spcPct val="0"/>
              </a:spcAft>
              <a:buClrTx/>
              <a:buFontTx/>
              <a:buChar char="•"/>
            </a:pPr>
            <a:endParaRPr lang="en-US" altLang="en-US" sz="1800" dirty="0">
              <a:solidFill>
                <a:schemeClr val="bg1"/>
              </a:solidFill>
              <a:latin typeface="Arial" panose="020B0604020202020204" pitchFamily="34" charset="0"/>
            </a:endParaRPr>
          </a:p>
          <a:p>
            <a:pPr marL="285750" indent="-285750">
              <a:buFont typeface="Arial" panose="020B0604020202020204" pitchFamily="34" charset="0"/>
              <a:buChar char="•"/>
            </a:pPr>
            <a:endParaRPr lang="en-US" sz="1800" dirty="0"/>
          </a:p>
        </p:txBody>
      </p:sp>
      <p:sp>
        <p:nvSpPr>
          <p:cNvPr id="3" name="Title 2">
            <a:extLst>
              <a:ext uri="{FF2B5EF4-FFF2-40B4-BE49-F238E27FC236}">
                <a16:creationId xmlns:a16="http://schemas.microsoft.com/office/drawing/2014/main" id="{AF66B7EE-8E73-D2BC-1B28-AD4E94E48C2F}"/>
              </a:ext>
            </a:extLst>
          </p:cNvPr>
          <p:cNvSpPr>
            <a:spLocks noGrp="1"/>
          </p:cNvSpPr>
          <p:nvPr>
            <p:ph type="title"/>
          </p:nvPr>
        </p:nvSpPr>
        <p:spPr>
          <a:xfrm>
            <a:off x="587375" y="834902"/>
            <a:ext cx="5156200" cy="498598"/>
          </a:xfrm>
        </p:spPr>
        <p:txBody>
          <a:bodyPr/>
          <a:lstStyle/>
          <a:p>
            <a:r>
              <a:rPr lang="en-IN" dirty="0"/>
              <a:t>Recommendations</a:t>
            </a:r>
          </a:p>
        </p:txBody>
      </p:sp>
      <p:sp>
        <p:nvSpPr>
          <p:cNvPr id="10" name="Rectangle 6">
            <a:extLst>
              <a:ext uri="{FF2B5EF4-FFF2-40B4-BE49-F238E27FC236}">
                <a16:creationId xmlns:a16="http://schemas.microsoft.com/office/drawing/2014/main" id="{07882D2B-E9A0-81D0-6850-E865303A4789}"/>
              </a:ext>
            </a:extLst>
          </p:cNvPr>
          <p:cNvSpPr>
            <a:spLocks noChangeArrowheads="1"/>
          </p:cNvSpPr>
          <p:nvPr/>
        </p:nvSpPr>
        <p:spPr bwMode="auto">
          <a:xfrm>
            <a:off x="369661" y="4839069"/>
            <a:ext cx="7465023" cy="1708160"/>
          </a:xfrm>
          <a:prstGeom prst="rect">
            <a:avLst/>
          </a:prstGeom>
        </p:spPr>
        <p:txBody>
          <a:bodyPr vert="horz" lIns="0" tIns="45720" rIns="0" bIns="45720" rtlCol="0">
            <a:normAutofit/>
          </a:bodyPr>
          <a:lstStyle/>
          <a:p>
            <a:pPr marL="285750" indent="-285750">
              <a:spcBef>
                <a:spcPts val="600"/>
              </a:spcBef>
              <a:spcAft>
                <a:spcPts val="300"/>
              </a:spcAft>
              <a:buClr>
                <a:schemeClr val="tx1"/>
              </a:buClr>
              <a:buSzPct val="130000"/>
              <a:buFont typeface="Arial" panose="020B0604020202020204" pitchFamily="34" charset="0"/>
              <a:buChar char="•"/>
            </a:pPr>
            <a:r>
              <a:rPr lang="en-US" altLang="en-US" dirty="0">
                <a:solidFill>
                  <a:schemeClr val="bg1"/>
                </a:solidFill>
                <a:latin typeface="Segoe UI" panose="020B0502040204020203" pitchFamily="34" charset="0"/>
                <a:ea typeface="Segoe UI" panose="020B0502040204020203" pitchFamily="34" charset="0"/>
                <a:cs typeface="Segoe UI" panose="020B0502040204020203" pitchFamily="34" charset="0"/>
              </a:rPr>
              <a:t>Fraud detection should work in real-time to block fraudulent transactions before processing.</a:t>
            </a:r>
          </a:p>
          <a:p>
            <a:pPr marL="285750" indent="-285750">
              <a:spcBef>
                <a:spcPts val="600"/>
              </a:spcBef>
              <a:spcAft>
                <a:spcPts val="300"/>
              </a:spcAft>
              <a:buClr>
                <a:schemeClr val="tx1"/>
              </a:buClr>
              <a:buSzPct val="130000"/>
              <a:buFont typeface="Arial" panose="020B0604020202020204" pitchFamily="34" charset="0"/>
              <a:buChar char="•"/>
            </a:pPr>
            <a:r>
              <a:rPr lang="en-US" dirty="0">
                <a:solidFill>
                  <a:schemeClr val="bg1"/>
                </a:solidFill>
                <a:latin typeface="Segoe UI" panose="020B0502040204020203" pitchFamily="34" charset="0"/>
                <a:ea typeface="Segoe UI" panose="020B0502040204020203" pitchFamily="34" charset="0"/>
                <a:cs typeface="Segoe UI" panose="020B0502040204020203" pitchFamily="34" charset="0"/>
              </a:rPr>
              <a:t>Continuously monitor model performance and retrain with fresh data to adapt to new fraud patterns</a:t>
            </a:r>
            <a:endParaRPr lang="en-US" altLang="en-US"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p>
            <a:pPr marL="285750" indent="-285750">
              <a:spcBef>
                <a:spcPts val="600"/>
              </a:spcBef>
              <a:spcAft>
                <a:spcPts val="300"/>
              </a:spcAft>
              <a:buClr>
                <a:schemeClr val="tx1"/>
              </a:buClr>
              <a:buSzPct val="130000"/>
              <a:buFont typeface="Arial" panose="020B0604020202020204" pitchFamily="34" charset="0"/>
              <a:buChar char="•"/>
            </a:pPr>
            <a:endParaRPr lang="en-US" altLang="en-US"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087525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AC3B2D-3328-31D2-BB25-A8EF9CFCE01F}"/>
              </a:ext>
            </a:extLst>
          </p:cNvPr>
          <p:cNvSpPr>
            <a:spLocks noGrp="1"/>
          </p:cNvSpPr>
          <p:nvPr>
            <p:ph type="title"/>
          </p:nvPr>
        </p:nvSpPr>
        <p:spPr>
          <a:xfrm>
            <a:off x="663574" y="878446"/>
            <a:ext cx="5156200" cy="498598"/>
          </a:xfrm>
        </p:spPr>
        <p:txBody>
          <a:bodyPr/>
          <a:lstStyle/>
          <a:p>
            <a:r>
              <a:rPr lang="en-IN" dirty="0"/>
              <a:t>NEXT STEPS</a:t>
            </a:r>
          </a:p>
        </p:txBody>
      </p:sp>
      <p:sp>
        <p:nvSpPr>
          <p:cNvPr id="10" name="TextBox 9">
            <a:extLst>
              <a:ext uri="{FF2B5EF4-FFF2-40B4-BE49-F238E27FC236}">
                <a16:creationId xmlns:a16="http://schemas.microsoft.com/office/drawing/2014/main" id="{ACD79CC4-34F4-86EB-6AED-770541ABFA3C}"/>
              </a:ext>
            </a:extLst>
          </p:cNvPr>
          <p:cNvSpPr txBox="1"/>
          <p:nvPr/>
        </p:nvSpPr>
        <p:spPr>
          <a:xfrm>
            <a:off x="663573" y="1774762"/>
            <a:ext cx="7163256" cy="3266663"/>
          </a:xfrm>
          <a:prstGeom prst="rect">
            <a:avLst/>
          </a:prstGeom>
          <a:noFill/>
        </p:spPr>
        <p:txBody>
          <a:bodyPr wrap="square">
            <a:spAutoFit/>
          </a:bodyPr>
          <a:lstStyle/>
          <a:p>
            <a:pPr>
              <a:lnSpc>
                <a:spcPct val="150000"/>
              </a:lnSpc>
            </a:pPr>
            <a:r>
              <a:rPr lang="en-IN" sz="2000" dirty="0">
                <a:solidFill>
                  <a:schemeClr val="bg1"/>
                </a:solidFill>
              </a:rPr>
              <a:t>- Choose between </a:t>
            </a:r>
            <a:r>
              <a:rPr lang="en-IN" sz="2000" b="1" dirty="0">
                <a:solidFill>
                  <a:schemeClr val="bg1"/>
                </a:solidFill>
              </a:rPr>
              <a:t>Kafka (large-scale)</a:t>
            </a:r>
            <a:r>
              <a:rPr lang="en-IN" sz="2000" dirty="0">
                <a:solidFill>
                  <a:schemeClr val="bg1"/>
                </a:solidFill>
              </a:rPr>
              <a:t> or </a:t>
            </a:r>
            <a:r>
              <a:rPr lang="en-IN" sz="2000" b="1" dirty="0">
                <a:solidFill>
                  <a:schemeClr val="bg1"/>
                </a:solidFill>
              </a:rPr>
              <a:t>API calls (simpler setup)</a:t>
            </a:r>
            <a:r>
              <a:rPr lang="en-IN" sz="2000" dirty="0">
                <a:solidFill>
                  <a:schemeClr val="bg1"/>
                </a:solidFill>
              </a:rPr>
              <a:t> for real-time data.</a:t>
            </a:r>
            <a:br>
              <a:rPr lang="en-IN" sz="2000" dirty="0">
                <a:solidFill>
                  <a:schemeClr val="bg1"/>
                </a:solidFill>
              </a:rPr>
            </a:br>
            <a:r>
              <a:rPr lang="en-IN" sz="2000" dirty="0">
                <a:solidFill>
                  <a:schemeClr val="bg1"/>
                </a:solidFill>
              </a:rPr>
              <a:t>- </a:t>
            </a:r>
            <a:r>
              <a:rPr lang="en-IN" sz="2000" b="1" dirty="0">
                <a:solidFill>
                  <a:schemeClr val="bg1"/>
                </a:solidFill>
              </a:rPr>
              <a:t>Twilio or AWS SNS</a:t>
            </a:r>
            <a:r>
              <a:rPr lang="en-IN" sz="2000" dirty="0">
                <a:solidFill>
                  <a:schemeClr val="bg1"/>
                </a:solidFill>
              </a:rPr>
              <a:t> to send SMS fraud alerts.</a:t>
            </a:r>
            <a:br>
              <a:rPr lang="en-IN" sz="2000" dirty="0">
                <a:solidFill>
                  <a:schemeClr val="bg1"/>
                </a:solidFill>
              </a:rPr>
            </a:br>
            <a:r>
              <a:rPr lang="en-IN" sz="2000" dirty="0">
                <a:solidFill>
                  <a:schemeClr val="bg1"/>
                </a:solidFill>
              </a:rPr>
              <a:t>- Optimize Flask with </a:t>
            </a:r>
            <a:r>
              <a:rPr lang="en-IN" sz="2000" b="1" dirty="0" err="1">
                <a:solidFill>
                  <a:schemeClr val="bg1"/>
                </a:solidFill>
              </a:rPr>
              <a:t>Gunicorn</a:t>
            </a:r>
            <a:r>
              <a:rPr lang="en-IN" sz="2000" b="1" dirty="0">
                <a:solidFill>
                  <a:schemeClr val="bg1"/>
                </a:solidFill>
              </a:rPr>
              <a:t>, Redis, and Celery</a:t>
            </a:r>
            <a:r>
              <a:rPr lang="en-IN" sz="2000" dirty="0">
                <a:solidFill>
                  <a:schemeClr val="bg1"/>
                </a:solidFill>
              </a:rPr>
              <a:t> for handling </a:t>
            </a:r>
            <a:r>
              <a:rPr lang="en-IN" sz="2000" b="1" dirty="0">
                <a:solidFill>
                  <a:schemeClr val="bg1"/>
                </a:solidFill>
              </a:rPr>
              <a:t>large requests</a:t>
            </a:r>
            <a:r>
              <a:rPr lang="en-IN" sz="2000" dirty="0">
                <a:solidFill>
                  <a:schemeClr val="bg1"/>
                </a:solidFill>
              </a:rPr>
              <a:t>.</a:t>
            </a:r>
            <a:br>
              <a:rPr lang="en-IN" sz="2000" dirty="0">
                <a:solidFill>
                  <a:schemeClr val="bg1"/>
                </a:solidFill>
              </a:rPr>
            </a:br>
            <a:r>
              <a:rPr lang="en-IN" sz="2000" dirty="0">
                <a:solidFill>
                  <a:schemeClr val="bg1"/>
                </a:solidFill>
              </a:rPr>
              <a:t>- Monitor fraud trends with </a:t>
            </a:r>
            <a:r>
              <a:rPr lang="en-IN" sz="2000" b="1" dirty="0">
                <a:solidFill>
                  <a:schemeClr val="bg1"/>
                </a:solidFill>
              </a:rPr>
              <a:t>Grafana</a:t>
            </a:r>
            <a:r>
              <a:rPr lang="en-IN" sz="2000" dirty="0">
                <a:solidFill>
                  <a:schemeClr val="bg1"/>
                </a:solidFill>
              </a:rPr>
              <a:t> and retrain the model regularly.</a:t>
            </a:r>
          </a:p>
        </p:txBody>
      </p:sp>
    </p:spTree>
    <p:extLst>
      <p:ext uri="{BB962C8B-B14F-4D97-AF65-F5344CB8AC3E}">
        <p14:creationId xmlns:p14="http://schemas.microsoft.com/office/powerpoint/2010/main" val="3074523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413D06-B4C7-462B-A421-A31788D3E53B}"/>
              </a:ext>
            </a:extLst>
          </p:cNvPr>
          <p:cNvSpPr>
            <a:spLocks noGrp="1"/>
          </p:cNvSpPr>
          <p:nvPr>
            <p:ph type="title"/>
          </p:nvPr>
        </p:nvSpPr>
        <p:spPr>
          <a:xfrm>
            <a:off x="2405289" y="2808040"/>
            <a:ext cx="5138511" cy="1107996"/>
          </a:xfrm>
        </p:spPr>
        <p:txBody>
          <a:bodyPr anchor="ctr"/>
          <a:lstStyle/>
          <a:p>
            <a:pPr algn="ctr"/>
            <a:r>
              <a:rPr lang="en-IN" sz="8000" dirty="0"/>
              <a:t>QNA</a:t>
            </a:r>
          </a:p>
        </p:txBody>
      </p:sp>
    </p:spTree>
    <p:extLst>
      <p:ext uri="{BB962C8B-B14F-4D97-AF65-F5344CB8AC3E}">
        <p14:creationId xmlns:p14="http://schemas.microsoft.com/office/powerpoint/2010/main" val="6510774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6CAF87-8621-445C-A6E9-10BAC6CF5A15}"/>
              </a:ext>
            </a:extLst>
          </p:cNvPr>
          <p:cNvGraphicFramePr>
            <a:graphicFrameLocks noChangeAspect="1"/>
          </p:cNvGraphicFramePr>
          <p:nvPr>
            <p:custDataLst>
              <p:tags r:id="rId1"/>
            </p:custDataLst>
            <p:extLst>
              <p:ext uri="{D42A27DB-BD31-4B8C-83A1-F6EECF244321}">
                <p14:modId xmlns:p14="http://schemas.microsoft.com/office/powerpoint/2010/main" val="3288244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id="{A36CAF87-8621-445C-A6E9-10BAC6CF5A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4" descr="A picture containing sky, outdoor, building, city&#10;&#10;Description automatically generated">
            <a:extLst>
              <a:ext uri="{FF2B5EF4-FFF2-40B4-BE49-F238E27FC236}">
                <a16:creationId xmlns:a16="http://schemas.microsoft.com/office/drawing/2014/main" id="{A3A06282-F588-CB16-5691-DF16676621C2}"/>
              </a:ext>
            </a:extLst>
          </p:cNvPr>
          <p:cNvPicPr>
            <a:picLocks noGrp="1" noChangeAspect="1"/>
          </p:cNvPicPr>
          <p:nvPr>
            <p:ph type="pic" sz="quarter" idx="18"/>
          </p:nvPr>
        </p:nvPicPr>
        <p:blipFill rotWithShape="1">
          <a:blip r:embed="rId6"/>
          <a:srcRect l="33518" r="26991"/>
          <a:stretch/>
        </p:blipFill>
        <p:spPr>
          <a:xfrm>
            <a:off x="8127599" y="0"/>
            <a:ext cx="4062069" cy="6858000"/>
          </a:xfrm>
        </p:spPr>
      </p:pic>
      <p:sp>
        <p:nvSpPr>
          <p:cNvPr id="51" name="Title 50">
            <a:extLst>
              <a:ext uri="{FF2B5EF4-FFF2-40B4-BE49-F238E27FC236}">
                <a16:creationId xmlns:a16="http://schemas.microsoft.com/office/drawing/2014/main" id="{DC4E93E1-8864-4759-9EB7-C6DF15B47EA6}"/>
              </a:ext>
            </a:extLst>
          </p:cNvPr>
          <p:cNvSpPr>
            <a:spLocks noGrp="1"/>
          </p:cNvSpPr>
          <p:nvPr>
            <p:ph type="title"/>
          </p:nvPr>
        </p:nvSpPr>
        <p:spPr>
          <a:xfrm>
            <a:off x="587376" y="393192"/>
            <a:ext cx="7197724" cy="548640"/>
          </a:xfrm>
        </p:spPr>
        <p:txBody>
          <a:bodyPr vert="horz"/>
          <a:lstStyle/>
          <a:p>
            <a:r>
              <a:rPr lang="en-IN"/>
              <a:t>Agenda</a:t>
            </a:r>
          </a:p>
        </p:txBody>
      </p:sp>
      <p:sp>
        <p:nvSpPr>
          <p:cNvPr id="6" name="Slide Number Placeholder 5">
            <a:extLst>
              <a:ext uri="{FF2B5EF4-FFF2-40B4-BE49-F238E27FC236}">
                <a16:creationId xmlns:a16="http://schemas.microsoft.com/office/drawing/2014/main" id="{6E72E697-0001-4DDC-8936-5F4A33CB2777}"/>
              </a:ext>
            </a:extLst>
          </p:cNvPr>
          <p:cNvSpPr>
            <a:spLocks noGrp="1"/>
          </p:cNvSpPr>
          <p:nvPr>
            <p:ph type="sldNum" sz="quarter" idx="17"/>
          </p:nvPr>
        </p:nvSpPr>
        <p:spPr>
          <a:xfrm>
            <a:off x="11494008" y="6476999"/>
            <a:ext cx="382601" cy="228600"/>
          </a:xfrm>
          <a:prstGeom prst="rect">
            <a:avLst/>
          </a:prstGeom>
        </p:spPr>
        <p:txBody>
          <a:bodyPr vert="horz" lIns="91440" tIns="0" rIns="91440" bIns="0" rtlCol="0" anchor="ctr" anchorCtr="0"/>
          <a:lstStyle>
            <a:defPPr>
              <a:defRPr lang="en-US"/>
            </a:defPPr>
            <a:lvl1pPr marL="0" algn="r" defTabSz="914400" rtl="0" eaLnBrk="1" latinLnBrk="0" hangingPunct="1">
              <a:defRPr sz="1000"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73ED9CF-134B-4CF4-BE68-5BA92A682DB9}" type="slidenum">
              <a:rPr lang="en-US" smtClean="0">
                <a:solidFill>
                  <a:schemeClr val="bg1"/>
                </a:solidFill>
              </a:rPr>
              <a:pPr/>
              <a:t>2</a:t>
            </a:fld>
            <a:endParaRPr lang="en-GB">
              <a:solidFill>
                <a:schemeClr val="bg1"/>
              </a:solidFill>
            </a:endParaRPr>
          </a:p>
        </p:txBody>
      </p:sp>
      <p:sp>
        <p:nvSpPr>
          <p:cNvPr id="16" name="Freeform: Shape 15">
            <a:extLst>
              <a:ext uri="{FF2B5EF4-FFF2-40B4-BE49-F238E27FC236}">
                <a16:creationId xmlns:a16="http://schemas.microsoft.com/office/drawing/2014/main" id="{A5908314-E817-4A5A-A796-3485D087C9A2}"/>
              </a:ext>
            </a:extLst>
          </p:cNvPr>
          <p:cNvSpPr/>
          <p:nvPr/>
        </p:nvSpPr>
        <p:spPr>
          <a:xfrm>
            <a:off x="11163300" y="5233935"/>
            <a:ext cx="1028700" cy="1069922"/>
          </a:xfrm>
          <a:custGeom>
            <a:avLst/>
            <a:gdLst>
              <a:gd name="connsiteX0" fmla="*/ 719995 w 1448982"/>
              <a:gd name="connsiteY0" fmla="*/ 1119378 h 1507045"/>
              <a:gd name="connsiteX1" fmla="*/ 1331309 w 1448982"/>
              <a:gd name="connsiteY1" fmla="*/ 1119378 h 1507045"/>
              <a:gd name="connsiteX2" fmla="*/ 1404338 w 1448982"/>
              <a:gd name="connsiteY2" fmla="*/ 1135373 h 1507045"/>
              <a:gd name="connsiteX3" fmla="*/ 1448982 w 1448982"/>
              <a:gd name="connsiteY3" fmla="*/ 1165809 h 1507045"/>
              <a:gd name="connsiteX4" fmla="*/ 1448982 w 1448982"/>
              <a:gd name="connsiteY4" fmla="*/ 1459947 h 1507045"/>
              <a:gd name="connsiteX5" fmla="*/ 1406401 w 1448982"/>
              <a:gd name="connsiteY5" fmla="*/ 1490049 h 1507045"/>
              <a:gd name="connsiteX6" fmla="*/ 1331309 w 1448982"/>
              <a:gd name="connsiteY6" fmla="*/ 1506950 h 1507045"/>
              <a:gd name="connsiteX7" fmla="*/ 719995 w 1448982"/>
              <a:gd name="connsiteY7" fmla="*/ 1506950 h 1507045"/>
              <a:gd name="connsiteX8" fmla="*/ 526256 w 1448982"/>
              <a:gd name="connsiteY8" fmla="*/ 1313116 h 1507045"/>
              <a:gd name="connsiteX9" fmla="*/ 719995 w 1448982"/>
              <a:gd name="connsiteY9" fmla="*/ 1119378 h 1507045"/>
              <a:gd name="connsiteX10" fmla="*/ 193834 w 1448982"/>
              <a:gd name="connsiteY10" fmla="*/ 1119378 h 1507045"/>
              <a:gd name="connsiteX11" fmla="*/ 194024 w 1448982"/>
              <a:gd name="connsiteY11" fmla="*/ 1119378 h 1507045"/>
              <a:gd name="connsiteX12" fmla="*/ 387763 w 1448982"/>
              <a:gd name="connsiteY12" fmla="*/ 1313307 h 1507045"/>
              <a:gd name="connsiteX13" fmla="*/ 193834 w 1448982"/>
              <a:gd name="connsiteY13" fmla="*/ 1507045 h 1507045"/>
              <a:gd name="connsiteX14" fmla="*/ 95 w 1448982"/>
              <a:gd name="connsiteY14" fmla="*/ 1313116 h 1507045"/>
              <a:gd name="connsiteX15" fmla="*/ 193834 w 1448982"/>
              <a:gd name="connsiteY15" fmla="*/ 1119378 h 1507045"/>
              <a:gd name="connsiteX16" fmla="*/ 193929 w 1448982"/>
              <a:gd name="connsiteY16" fmla="*/ 559784 h 1507045"/>
              <a:gd name="connsiteX17" fmla="*/ 805149 w 1448982"/>
              <a:gd name="connsiteY17" fmla="*/ 559784 h 1507045"/>
              <a:gd name="connsiteX18" fmla="*/ 813740 w 1448982"/>
              <a:gd name="connsiteY18" fmla="*/ 559784 h 1507045"/>
              <a:gd name="connsiteX19" fmla="*/ 1003230 w 1448982"/>
              <a:gd name="connsiteY19" fmla="*/ 757866 h 1507045"/>
              <a:gd name="connsiteX20" fmla="*/ 805149 w 1448982"/>
              <a:gd name="connsiteY20" fmla="*/ 947356 h 1507045"/>
              <a:gd name="connsiteX21" fmla="*/ 193929 w 1448982"/>
              <a:gd name="connsiteY21" fmla="*/ 947356 h 1507045"/>
              <a:gd name="connsiteX22" fmla="*/ 95 w 1448982"/>
              <a:gd name="connsiteY22" fmla="*/ 753523 h 1507045"/>
              <a:gd name="connsiteX23" fmla="*/ 193929 w 1448982"/>
              <a:gd name="connsiteY23" fmla="*/ 559784 h 1507045"/>
              <a:gd name="connsiteX24" fmla="*/ 1331214 w 1448982"/>
              <a:gd name="connsiteY24" fmla="*/ 559689 h 1507045"/>
              <a:gd name="connsiteX25" fmla="*/ 1406663 w 1448982"/>
              <a:gd name="connsiteY25" fmla="*/ 574922 h 1507045"/>
              <a:gd name="connsiteX26" fmla="*/ 1448982 w 1448982"/>
              <a:gd name="connsiteY26" fmla="*/ 603454 h 1507045"/>
              <a:gd name="connsiteX27" fmla="*/ 1448982 w 1448982"/>
              <a:gd name="connsiteY27" fmla="*/ 903636 h 1507045"/>
              <a:gd name="connsiteX28" fmla="*/ 1406719 w 1448982"/>
              <a:gd name="connsiteY28" fmla="*/ 932131 h 1507045"/>
              <a:gd name="connsiteX29" fmla="*/ 1331309 w 1448982"/>
              <a:gd name="connsiteY29" fmla="*/ 947356 h 1507045"/>
              <a:gd name="connsiteX30" fmla="*/ 1331214 w 1448982"/>
              <a:gd name="connsiteY30" fmla="*/ 947356 h 1507045"/>
              <a:gd name="connsiteX31" fmla="*/ 1137381 w 1448982"/>
              <a:gd name="connsiteY31" fmla="*/ 753523 h 1507045"/>
              <a:gd name="connsiteX32" fmla="*/ 1331214 w 1448982"/>
              <a:gd name="connsiteY32" fmla="*/ 559689 h 1507045"/>
              <a:gd name="connsiteX33" fmla="*/ 719995 w 1448982"/>
              <a:gd name="connsiteY33" fmla="*/ 95 h 1507045"/>
              <a:gd name="connsiteX34" fmla="*/ 1331309 w 1448982"/>
              <a:gd name="connsiteY34" fmla="*/ 95 h 1507045"/>
              <a:gd name="connsiteX35" fmla="*/ 1406727 w 1448982"/>
              <a:gd name="connsiteY35" fmla="*/ 15357 h 1507045"/>
              <a:gd name="connsiteX36" fmla="*/ 1448982 w 1448982"/>
              <a:gd name="connsiteY36" fmla="*/ 43864 h 1507045"/>
              <a:gd name="connsiteX37" fmla="*/ 1448982 w 1448982"/>
              <a:gd name="connsiteY37" fmla="*/ 343951 h 1507045"/>
              <a:gd name="connsiteX38" fmla="*/ 1406719 w 1448982"/>
              <a:gd name="connsiteY38" fmla="*/ 372444 h 1507045"/>
              <a:gd name="connsiteX39" fmla="*/ 1331309 w 1448982"/>
              <a:gd name="connsiteY39" fmla="*/ 387668 h 1507045"/>
              <a:gd name="connsiteX40" fmla="*/ 719995 w 1448982"/>
              <a:gd name="connsiteY40" fmla="*/ 387668 h 1507045"/>
              <a:gd name="connsiteX41" fmla="*/ 530504 w 1448982"/>
              <a:gd name="connsiteY41" fmla="*/ 198177 h 1507045"/>
              <a:gd name="connsiteX42" fmla="*/ 719995 w 1448982"/>
              <a:gd name="connsiteY42" fmla="*/ 95 h 1507045"/>
              <a:gd name="connsiteX43" fmla="*/ 193929 w 1448982"/>
              <a:gd name="connsiteY43" fmla="*/ 0 h 1507045"/>
              <a:gd name="connsiteX44" fmla="*/ 387668 w 1448982"/>
              <a:gd name="connsiteY44" fmla="*/ 193929 h 1507045"/>
              <a:gd name="connsiteX45" fmla="*/ 193834 w 1448982"/>
              <a:gd name="connsiteY45" fmla="*/ 387668 h 1507045"/>
              <a:gd name="connsiteX46" fmla="*/ 193739 w 1448982"/>
              <a:gd name="connsiteY46" fmla="*/ 387668 h 1507045"/>
              <a:gd name="connsiteX47" fmla="*/ 0 w 1448982"/>
              <a:gd name="connsiteY47" fmla="*/ 193738 h 1507045"/>
              <a:gd name="connsiteX48" fmla="*/ 193929 w 1448982"/>
              <a:gd name="connsiteY48" fmla="*/ 0 h 150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48982" h="1507045">
                <a:moveTo>
                  <a:pt x="719995" y="1119378"/>
                </a:moveTo>
                <a:lnTo>
                  <a:pt x="1331309" y="1119378"/>
                </a:lnTo>
                <a:cubicBezTo>
                  <a:pt x="1357231" y="1119952"/>
                  <a:pt x="1381892" y="1125601"/>
                  <a:pt x="1404338" y="1135373"/>
                </a:cubicBezTo>
                <a:lnTo>
                  <a:pt x="1448982" y="1165809"/>
                </a:lnTo>
                <a:lnTo>
                  <a:pt x="1448982" y="1459947"/>
                </a:lnTo>
                <a:lnTo>
                  <a:pt x="1406401" y="1490049"/>
                </a:lnTo>
                <a:cubicBezTo>
                  <a:pt x="1383434" y="1500370"/>
                  <a:pt x="1358065" y="1506357"/>
                  <a:pt x="1331309" y="1506950"/>
                </a:cubicBezTo>
                <a:lnTo>
                  <a:pt x="719995" y="1506950"/>
                </a:lnTo>
                <a:cubicBezTo>
                  <a:pt x="612982" y="1506893"/>
                  <a:pt x="526256" y="1420130"/>
                  <a:pt x="526256" y="1313116"/>
                </a:cubicBezTo>
                <a:cubicBezTo>
                  <a:pt x="526256" y="1206112"/>
                  <a:pt x="613000" y="1119378"/>
                  <a:pt x="719995" y="1119378"/>
                </a:cubicBezTo>
                <a:close/>
                <a:moveTo>
                  <a:pt x="193834" y="1119378"/>
                </a:moveTo>
                <a:cubicBezTo>
                  <a:pt x="193900" y="1119378"/>
                  <a:pt x="193958" y="1119378"/>
                  <a:pt x="194024" y="1119378"/>
                </a:cubicBezTo>
                <a:cubicBezTo>
                  <a:pt x="301076" y="1119425"/>
                  <a:pt x="387820" y="1206255"/>
                  <a:pt x="387763" y="1313307"/>
                </a:cubicBezTo>
                <a:cubicBezTo>
                  <a:pt x="387715" y="1420358"/>
                  <a:pt x="300885" y="1507093"/>
                  <a:pt x="193834" y="1507045"/>
                </a:cubicBezTo>
                <a:cubicBezTo>
                  <a:pt x="86782" y="1506988"/>
                  <a:pt x="48" y="1420168"/>
                  <a:pt x="95" y="1313116"/>
                </a:cubicBezTo>
                <a:cubicBezTo>
                  <a:pt x="143" y="1206141"/>
                  <a:pt x="86859" y="1119425"/>
                  <a:pt x="193834" y="1119378"/>
                </a:cubicBezTo>
                <a:close/>
                <a:moveTo>
                  <a:pt x="193929" y="559784"/>
                </a:moveTo>
                <a:lnTo>
                  <a:pt x="805149" y="559784"/>
                </a:lnTo>
                <a:cubicBezTo>
                  <a:pt x="808015" y="559717"/>
                  <a:pt x="810882" y="559717"/>
                  <a:pt x="813740" y="559784"/>
                </a:cubicBezTo>
                <a:cubicBezTo>
                  <a:pt x="920763" y="562156"/>
                  <a:pt x="1005602" y="650843"/>
                  <a:pt x="1003230" y="757866"/>
                </a:cubicBezTo>
                <a:cubicBezTo>
                  <a:pt x="1000859" y="864889"/>
                  <a:pt x="912171" y="949728"/>
                  <a:pt x="805149" y="947356"/>
                </a:cubicBezTo>
                <a:lnTo>
                  <a:pt x="193929" y="947356"/>
                </a:lnTo>
                <a:cubicBezTo>
                  <a:pt x="86878" y="947356"/>
                  <a:pt x="95" y="860574"/>
                  <a:pt x="95" y="753523"/>
                </a:cubicBezTo>
                <a:cubicBezTo>
                  <a:pt x="143" y="646509"/>
                  <a:pt x="86916" y="559784"/>
                  <a:pt x="193929" y="559784"/>
                </a:cubicBezTo>
                <a:close/>
                <a:moveTo>
                  <a:pt x="1331214" y="559689"/>
                </a:moveTo>
                <a:cubicBezTo>
                  <a:pt x="1357977" y="559689"/>
                  <a:pt x="1383473" y="565113"/>
                  <a:pt x="1406663" y="574922"/>
                </a:cubicBezTo>
                <a:lnTo>
                  <a:pt x="1448982" y="603454"/>
                </a:lnTo>
                <a:lnTo>
                  <a:pt x="1448982" y="903636"/>
                </a:lnTo>
                <a:lnTo>
                  <a:pt x="1406719" y="932131"/>
                </a:lnTo>
                <a:cubicBezTo>
                  <a:pt x="1383541" y="941935"/>
                  <a:pt x="1358058" y="947356"/>
                  <a:pt x="1331309" y="947356"/>
                </a:cubicBezTo>
                <a:cubicBezTo>
                  <a:pt x="1331281" y="947356"/>
                  <a:pt x="1331243" y="947356"/>
                  <a:pt x="1331214" y="947356"/>
                </a:cubicBezTo>
                <a:cubicBezTo>
                  <a:pt x="1224163" y="947356"/>
                  <a:pt x="1137381" y="860574"/>
                  <a:pt x="1137381" y="753523"/>
                </a:cubicBezTo>
                <a:cubicBezTo>
                  <a:pt x="1137381" y="646471"/>
                  <a:pt x="1224163" y="559689"/>
                  <a:pt x="1331214" y="559689"/>
                </a:cubicBezTo>
                <a:close/>
                <a:moveTo>
                  <a:pt x="719995" y="95"/>
                </a:moveTo>
                <a:lnTo>
                  <a:pt x="1331309" y="95"/>
                </a:lnTo>
                <a:cubicBezTo>
                  <a:pt x="1358063" y="109"/>
                  <a:pt x="1383548" y="5543"/>
                  <a:pt x="1406727" y="15357"/>
                </a:cubicBezTo>
                <a:lnTo>
                  <a:pt x="1448982" y="43864"/>
                </a:lnTo>
                <a:lnTo>
                  <a:pt x="1448982" y="343951"/>
                </a:lnTo>
                <a:lnTo>
                  <a:pt x="1406719" y="372444"/>
                </a:lnTo>
                <a:cubicBezTo>
                  <a:pt x="1383541" y="382247"/>
                  <a:pt x="1358058" y="387668"/>
                  <a:pt x="1331309" y="387668"/>
                </a:cubicBezTo>
                <a:lnTo>
                  <a:pt x="719995" y="387668"/>
                </a:lnTo>
                <a:cubicBezTo>
                  <a:pt x="616306" y="385372"/>
                  <a:pt x="532800" y="301866"/>
                  <a:pt x="530504" y="198177"/>
                </a:cubicBezTo>
                <a:cubicBezTo>
                  <a:pt x="528133" y="91154"/>
                  <a:pt x="612972" y="2467"/>
                  <a:pt x="719995" y="95"/>
                </a:cubicBezTo>
                <a:close/>
                <a:moveTo>
                  <a:pt x="193929" y="0"/>
                </a:moveTo>
                <a:cubicBezTo>
                  <a:pt x="300980" y="57"/>
                  <a:pt x="387715" y="86877"/>
                  <a:pt x="387668" y="193929"/>
                </a:cubicBezTo>
                <a:cubicBezTo>
                  <a:pt x="387620" y="300942"/>
                  <a:pt x="300847" y="387668"/>
                  <a:pt x="193834" y="387668"/>
                </a:cubicBezTo>
                <a:cubicBezTo>
                  <a:pt x="193805" y="387668"/>
                  <a:pt x="193767" y="387668"/>
                  <a:pt x="193739" y="387668"/>
                </a:cubicBezTo>
                <a:cubicBezTo>
                  <a:pt x="86687" y="387620"/>
                  <a:pt x="-57" y="300790"/>
                  <a:pt x="0" y="193738"/>
                </a:cubicBezTo>
                <a:cubicBezTo>
                  <a:pt x="48" y="86687"/>
                  <a:pt x="86878" y="-48"/>
                  <a:pt x="193929" y="0"/>
                </a:cubicBezTo>
                <a:close/>
              </a:path>
            </a:pathLst>
          </a:custGeom>
          <a:solidFill>
            <a:schemeClr val="bg1">
              <a:alpha val="70000"/>
            </a:schemeClr>
          </a:solidFill>
          <a:ln w="9525" cap="flat">
            <a:noFill/>
            <a:prstDash val="solid"/>
            <a:miter/>
          </a:ln>
        </p:spPr>
        <p:txBody>
          <a:bodyPr rtlCol="0" anchor="ctr"/>
          <a:lstStyle/>
          <a:p>
            <a:endParaRPr lang="en-GB"/>
          </a:p>
        </p:txBody>
      </p:sp>
      <p:pic>
        <p:nvPicPr>
          <p:cNvPr id="17" name="Graphic 16">
            <a:extLst>
              <a:ext uri="{FF2B5EF4-FFF2-40B4-BE49-F238E27FC236}">
                <a16:creationId xmlns:a16="http://schemas.microsoft.com/office/drawing/2014/main" id="{B91E0D44-3777-4201-B4B0-11960026A893}"/>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609755" y="6552208"/>
            <a:ext cx="811813" cy="83292"/>
          </a:xfrm>
          <a:prstGeom prst="rect">
            <a:avLst/>
          </a:prstGeom>
        </p:spPr>
      </p:pic>
      <p:sp>
        <p:nvSpPr>
          <p:cNvPr id="2" name="Rectangle 1">
            <a:extLst>
              <a:ext uri="{FF2B5EF4-FFF2-40B4-BE49-F238E27FC236}">
                <a16:creationId xmlns:a16="http://schemas.microsoft.com/office/drawing/2014/main" id="{26F9C83C-6659-49D9-8AAA-9B2D50AE2A56}"/>
              </a:ext>
            </a:extLst>
          </p:cNvPr>
          <p:cNvSpPr/>
          <p:nvPr/>
        </p:nvSpPr>
        <p:spPr>
          <a:xfrm>
            <a:off x="587376" y="1409700"/>
            <a:ext cx="4557914" cy="461665"/>
          </a:xfrm>
          <a:prstGeom prst="rect">
            <a:avLst/>
          </a:prstGeom>
        </p:spPr>
        <p:txBody>
          <a:bodyPr wrap="none" lIns="0">
            <a:spAutoFit/>
          </a:bodyPr>
          <a:lstStyle/>
          <a:p>
            <a:pPr marL="342900" indent="-342900">
              <a:buFont typeface="Arial" panose="020B0604020202020204" pitchFamily="34" charset="0"/>
              <a:buChar char="•"/>
            </a:pPr>
            <a:r>
              <a:rPr lang="en-IN" sz="2400" dirty="0"/>
              <a:t>Problem Statement Discussion</a:t>
            </a:r>
          </a:p>
        </p:txBody>
      </p:sp>
      <p:sp>
        <p:nvSpPr>
          <p:cNvPr id="23" name="Rectangle 22">
            <a:extLst>
              <a:ext uri="{FF2B5EF4-FFF2-40B4-BE49-F238E27FC236}">
                <a16:creationId xmlns:a16="http://schemas.microsoft.com/office/drawing/2014/main" id="{0E8DEC11-D7A7-42D5-80B2-5DF647F57BF1}"/>
              </a:ext>
            </a:extLst>
          </p:cNvPr>
          <p:cNvSpPr/>
          <p:nvPr/>
        </p:nvSpPr>
        <p:spPr>
          <a:xfrm>
            <a:off x="587376" y="2173849"/>
            <a:ext cx="1244251" cy="461665"/>
          </a:xfrm>
          <a:prstGeom prst="rect">
            <a:avLst/>
          </a:prstGeom>
        </p:spPr>
        <p:txBody>
          <a:bodyPr wrap="none" lIns="0">
            <a:spAutoFit/>
          </a:bodyPr>
          <a:lstStyle/>
          <a:p>
            <a:pPr marL="320040" indent="-320040">
              <a:buFont typeface="Arial" panose="020B0604020202020204" pitchFamily="34" charset="0"/>
              <a:buChar char="•"/>
            </a:pPr>
            <a:r>
              <a:rPr lang="en-IN" sz="2400" dirty="0"/>
              <a:t>Scope</a:t>
            </a:r>
          </a:p>
        </p:txBody>
      </p:sp>
      <p:sp>
        <p:nvSpPr>
          <p:cNvPr id="24" name="Rectangle 23">
            <a:extLst>
              <a:ext uri="{FF2B5EF4-FFF2-40B4-BE49-F238E27FC236}">
                <a16:creationId xmlns:a16="http://schemas.microsoft.com/office/drawing/2014/main" id="{4C578BFE-201E-4FCA-BB05-06C96E4FA1AE}"/>
              </a:ext>
            </a:extLst>
          </p:cNvPr>
          <p:cNvSpPr/>
          <p:nvPr/>
        </p:nvSpPr>
        <p:spPr>
          <a:xfrm>
            <a:off x="587376" y="2937998"/>
            <a:ext cx="2980239" cy="461665"/>
          </a:xfrm>
          <a:prstGeom prst="rect">
            <a:avLst/>
          </a:prstGeom>
        </p:spPr>
        <p:txBody>
          <a:bodyPr wrap="none" lIns="0">
            <a:spAutoFit/>
          </a:bodyPr>
          <a:lstStyle/>
          <a:p>
            <a:pPr marL="320040" indent="-320040">
              <a:buFont typeface="Arial" panose="020B0604020202020204" pitchFamily="34" charset="0"/>
              <a:buChar char="•"/>
            </a:pPr>
            <a:r>
              <a:rPr lang="en-IN" sz="2400" dirty="0"/>
              <a:t>Expected Outcome</a:t>
            </a:r>
          </a:p>
        </p:txBody>
      </p:sp>
      <p:sp>
        <p:nvSpPr>
          <p:cNvPr id="25" name="Rectangle 24">
            <a:extLst>
              <a:ext uri="{FF2B5EF4-FFF2-40B4-BE49-F238E27FC236}">
                <a16:creationId xmlns:a16="http://schemas.microsoft.com/office/drawing/2014/main" id="{0D9F9E62-5DB8-4B62-8149-2A01226E6543}"/>
              </a:ext>
            </a:extLst>
          </p:cNvPr>
          <p:cNvSpPr/>
          <p:nvPr/>
        </p:nvSpPr>
        <p:spPr>
          <a:xfrm>
            <a:off x="587376" y="3702147"/>
            <a:ext cx="3208699" cy="461665"/>
          </a:xfrm>
          <a:prstGeom prst="rect">
            <a:avLst/>
          </a:prstGeom>
        </p:spPr>
        <p:txBody>
          <a:bodyPr wrap="none" lIns="0">
            <a:spAutoFit/>
          </a:bodyPr>
          <a:lstStyle/>
          <a:p>
            <a:pPr marL="320040" indent="-320040">
              <a:buFont typeface="Arial" panose="020B0604020202020204" pitchFamily="34" charset="0"/>
              <a:buChar char="•"/>
            </a:pPr>
            <a:r>
              <a:rPr lang="en-IN" sz="2400" dirty="0"/>
              <a:t>Dataset Introduction</a:t>
            </a:r>
          </a:p>
        </p:txBody>
      </p:sp>
      <p:sp>
        <p:nvSpPr>
          <p:cNvPr id="26" name="Rectangle 25">
            <a:extLst>
              <a:ext uri="{FF2B5EF4-FFF2-40B4-BE49-F238E27FC236}">
                <a16:creationId xmlns:a16="http://schemas.microsoft.com/office/drawing/2014/main" id="{1B745D98-0150-4F50-8B60-80B389E8EC83}"/>
              </a:ext>
            </a:extLst>
          </p:cNvPr>
          <p:cNvSpPr/>
          <p:nvPr/>
        </p:nvSpPr>
        <p:spPr>
          <a:xfrm>
            <a:off x="587376" y="4466296"/>
            <a:ext cx="2965620" cy="461665"/>
          </a:xfrm>
          <a:prstGeom prst="rect">
            <a:avLst/>
          </a:prstGeom>
        </p:spPr>
        <p:txBody>
          <a:bodyPr wrap="none" lIns="0">
            <a:spAutoFit/>
          </a:bodyPr>
          <a:lstStyle/>
          <a:p>
            <a:pPr marL="320040" indent="-320040">
              <a:buFont typeface="Arial" panose="020B0604020202020204" pitchFamily="34" charset="0"/>
              <a:buChar char="•"/>
            </a:pPr>
            <a:r>
              <a:rPr lang="en-IN" sz="2400" dirty="0"/>
              <a:t>Code Walkthrough</a:t>
            </a:r>
          </a:p>
        </p:txBody>
      </p:sp>
      <p:sp>
        <p:nvSpPr>
          <p:cNvPr id="27" name="Rectangle 26">
            <a:extLst>
              <a:ext uri="{FF2B5EF4-FFF2-40B4-BE49-F238E27FC236}">
                <a16:creationId xmlns:a16="http://schemas.microsoft.com/office/drawing/2014/main" id="{6AEEF8E7-DF5D-44A7-8BBF-93CE64EA5256}"/>
              </a:ext>
            </a:extLst>
          </p:cNvPr>
          <p:cNvSpPr/>
          <p:nvPr/>
        </p:nvSpPr>
        <p:spPr>
          <a:xfrm>
            <a:off x="587376" y="5230445"/>
            <a:ext cx="3088474" cy="461665"/>
          </a:xfrm>
          <a:prstGeom prst="rect">
            <a:avLst/>
          </a:prstGeom>
        </p:spPr>
        <p:txBody>
          <a:bodyPr wrap="none" lIns="0">
            <a:spAutoFit/>
          </a:bodyPr>
          <a:lstStyle/>
          <a:p>
            <a:pPr marL="320040" indent="-320040">
              <a:buFont typeface="Arial" panose="020B0604020202020204" pitchFamily="34" charset="0"/>
              <a:buChar char="•"/>
            </a:pPr>
            <a:r>
              <a:rPr lang="en-IN" sz="2400" dirty="0"/>
              <a:t>Model Comparison</a:t>
            </a:r>
          </a:p>
        </p:txBody>
      </p:sp>
      <p:sp>
        <p:nvSpPr>
          <p:cNvPr id="28" name="Rectangle 27">
            <a:extLst>
              <a:ext uri="{FF2B5EF4-FFF2-40B4-BE49-F238E27FC236}">
                <a16:creationId xmlns:a16="http://schemas.microsoft.com/office/drawing/2014/main" id="{AAF7D6A1-E00F-4836-837C-32E1A699C2BA}"/>
              </a:ext>
            </a:extLst>
          </p:cNvPr>
          <p:cNvSpPr/>
          <p:nvPr/>
        </p:nvSpPr>
        <p:spPr>
          <a:xfrm>
            <a:off x="587376" y="5994592"/>
            <a:ext cx="2942857" cy="461665"/>
          </a:xfrm>
          <a:prstGeom prst="rect">
            <a:avLst/>
          </a:prstGeom>
        </p:spPr>
        <p:txBody>
          <a:bodyPr wrap="none" lIns="0">
            <a:spAutoFit/>
          </a:bodyPr>
          <a:lstStyle/>
          <a:p>
            <a:pPr marL="320040" indent="-320040">
              <a:buFont typeface="Arial" panose="020B0604020202020204" pitchFamily="34" charset="0"/>
              <a:buChar char="•"/>
            </a:pPr>
            <a:r>
              <a:rPr lang="en-IN" sz="2400" dirty="0"/>
              <a:t>Recommendations</a:t>
            </a:r>
          </a:p>
        </p:txBody>
      </p:sp>
      <p:cxnSp>
        <p:nvCxnSpPr>
          <p:cNvPr id="29" name="Straight Connector 28">
            <a:extLst>
              <a:ext uri="{FF2B5EF4-FFF2-40B4-BE49-F238E27FC236}">
                <a16:creationId xmlns:a16="http://schemas.microsoft.com/office/drawing/2014/main" id="{9D586E69-60FC-4480-9FF1-12919EA0DA92}"/>
              </a:ext>
            </a:extLst>
          </p:cNvPr>
          <p:cNvCxnSpPr>
            <a:cxnSpLocks/>
          </p:cNvCxnSpPr>
          <p:nvPr/>
        </p:nvCxnSpPr>
        <p:spPr>
          <a:xfrm>
            <a:off x="809469" y="2013536"/>
            <a:ext cx="6975631" cy="0"/>
          </a:xfrm>
          <a:prstGeom prst="line">
            <a:avLst/>
          </a:prstGeom>
          <a:ln>
            <a:gradFill>
              <a:gsLst>
                <a:gs pos="0">
                  <a:schemeClr val="bg1"/>
                </a:gs>
                <a:gs pos="78000">
                  <a:schemeClr val="bg1">
                    <a:lumMod val="85000"/>
                  </a:schemeClr>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25AD9EC-2C9E-4A9C-B92D-C1C84FFA951B}"/>
              </a:ext>
            </a:extLst>
          </p:cNvPr>
          <p:cNvCxnSpPr>
            <a:cxnSpLocks/>
          </p:cNvCxnSpPr>
          <p:nvPr/>
        </p:nvCxnSpPr>
        <p:spPr>
          <a:xfrm>
            <a:off x="809469" y="2823005"/>
            <a:ext cx="6975631" cy="0"/>
          </a:xfrm>
          <a:prstGeom prst="line">
            <a:avLst/>
          </a:prstGeom>
          <a:ln>
            <a:gradFill>
              <a:gsLst>
                <a:gs pos="0">
                  <a:schemeClr val="bg1"/>
                </a:gs>
                <a:gs pos="78000">
                  <a:schemeClr val="bg1">
                    <a:lumMod val="85000"/>
                  </a:schemeClr>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8386B37-DB56-4D88-9CF2-89E259CA88BF}"/>
              </a:ext>
            </a:extLst>
          </p:cNvPr>
          <p:cNvCxnSpPr>
            <a:cxnSpLocks/>
          </p:cNvCxnSpPr>
          <p:nvPr/>
        </p:nvCxnSpPr>
        <p:spPr>
          <a:xfrm>
            <a:off x="809469" y="3582227"/>
            <a:ext cx="6975631" cy="0"/>
          </a:xfrm>
          <a:prstGeom prst="line">
            <a:avLst/>
          </a:prstGeom>
          <a:ln>
            <a:gradFill>
              <a:gsLst>
                <a:gs pos="0">
                  <a:schemeClr val="bg1"/>
                </a:gs>
                <a:gs pos="78000">
                  <a:schemeClr val="bg1">
                    <a:lumMod val="85000"/>
                  </a:schemeClr>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500B03C-3409-4DCF-A52F-94D82EB2EED0}"/>
              </a:ext>
            </a:extLst>
          </p:cNvPr>
          <p:cNvCxnSpPr>
            <a:cxnSpLocks/>
          </p:cNvCxnSpPr>
          <p:nvPr/>
        </p:nvCxnSpPr>
        <p:spPr>
          <a:xfrm>
            <a:off x="809469" y="4345953"/>
            <a:ext cx="6975631" cy="0"/>
          </a:xfrm>
          <a:prstGeom prst="line">
            <a:avLst/>
          </a:prstGeom>
          <a:ln>
            <a:gradFill>
              <a:gsLst>
                <a:gs pos="0">
                  <a:schemeClr val="bg1"/>
                </a:gs>
                <a:gs pos="78000">
                  <a:schemeClr val="bg1">
                    <a:lumMod val="85000"/>
                  </a:schemeClr>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4955D6D-DE3D-46FD-89B3-753D082D5066}"/>
              </a:ext>
            </a:extLst>
          </p:cNvPr>
          <p:cNvCxnSpPr>
            <a:cxnSpLocks/>
          </p:cNvCxnSpPr>
          <p:nvPr/>
        </p:nvCxnSpPr>
        <p:spPr>
          <a:xfrm>
            <a:off x="809469" y="5094340"/>
            <a:ext cx="6975631" cy="0"/>
          </a:xfrm>
          <a:prstGeom prst="line">
            <a:avLst/>
          </a:prstGeom>
          <a:ln>
            <a:gradFill>
              <a:gsLst>
                <a:gs pos="0">
                  <a:schemeClr val="bg1"/>
                </a:gs>
                <a:gs pos="78000">
                  <a:schemeClr val="bg1">
                    <a:lumMod val="85000"/>
                  </a:schemeClr>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E2B92B1-3ED1-4657-86D1-433A39C48CF2}"/>
              </a:ext>
            </a:extLst>
          </p:cNvPr>
          <p:cNvCxnSpPr>
            <a:cxnSpLocks/>
          </p:cNvCxnSpPr>
          <p:nvPr/>
        </p:nvCxnSpPr>
        <p:spPr>
          <a:xfrm>
            <a:off x="809469" y="5932316"/>
            <a:ext cx="6975631" cy="0"/>
          </a:xfrm>
          <a:prstGeom prst="line">
            <a:avLst/>
          </a:prstGeom>
          <a:ln>
            <a:gradFill>
              <a:gsLst>
                <a:gs pos="0">
                  <a:schemeClr val="bg1"/>
                </a:gs>
                <a:gs pos="78000">
                  <a:schemeClr val="bg1">
                    <a:lumMod val="85000"/>
                  </a:schemeClr>
                </a:gs>
              </a:gsLst>
              <a:lin ang="10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94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0A8E1DB-416B-4192-A94A-BF47E1F1FE12}"/>
              </a:ext>
            </a:extLst>
          </p:cNvPr>
          <p:cNvGraphicFramePr>
            <a:graphicFrameLocks noChangeAspect="1"/>
          </p:cNvGraphicFramePr>
          <p:nvPr>
            <p:custDataLst>
              <p:tags r:id="rId1"/>
            </p:custDataLst>
            <p:extLst>
              <p:ext uri="{D42A27DB-BD31-4B8C-83A1-F6EECF244321}">
                <p14:modId xmlns:p14="http://schemas.microsoft.com/office/powerpoint/2010/main" val="435125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70A8E1DB-416B-4192-A94A-BF47E1F1FE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2">
            <a:extLst>
              <a:ext uri="{FF2B5EF4-FFF2-40B4-BE49-F238E27FC236}">
                <a16:creationId xmlns:a16="http://schemas.microsoft.com/office/drawing/2014/main" id="{898C069E-88E6-4C95-8D7D-19254978622E}"/>
              </a:ext>
            </a:extLst>
          </p:cNvPr>
          <p:cNvSpPr>
            <a:spLocks noGrp="1"/>
          </p:cNvSpPr>
          <p:nvPr>
            <p:ph type="title"/>
          </p:nvPr>
        </p:nvSpPr>
        <p:spPr>
          <a:xfrm>
            <a:off x="603271" y="541097"/>
            <a:ext cx="8660471" cy="1661805"/>
          </a:xfrm>
        </p:spPr>
        <p:txBody>
          <a:bodyPr anchor="ctr">
            <a:noAutofit/>
          </a:bodyPr>
          <a:lstStyle/>
          <a:p>
            <a:pPr>
              <a:lnSpc>
                <a:spcPct val="110000"/>
              </a:lnSpc>
              <a:spcBef>
                <a:spcPts val="0"/>
              </a:spcBef>
              <a:spcAft>
                <a:spcPts val="0"/>
              </a:spcAft>
            </a:pPr>
            <a:r>
              <a:rPr lang="en-US" dirty="0"/>
              <a:t>Problem  Statement</a:t>
            </a:r>
          </a:p>
        </p:txBody>
      </p:sp>
      <p:sp>
        <p:nvSpPr>
          <p:cNvPr id="4" name="TextBox 3">
            <a:extLst>
              <a:ext uri="{FF2B5EF4-FFF2-40B4-BE49-F238E27FC236}">
                <a16:creationId xmlns:a16="http://schemas.microsoft.com/office/drawing/2014/main" id="{D28BC959-AA20-70ED-23A3-9E9B3EA19CA9}"/>
              </a:ext>
            </a:extLst>
          </p:cNvPr>
          <p:cNvSpPr txBox="1"/>
          <p:nvPr/>
        </p:nvSpPr>
        <p:spPr>
          <a:xfrm>
            <a:off x="603271" y="2160230"/>
            <a:ext cx="6265615" cy="1754326"/>
          </a:xfrm>
          <a:prstGeom prst="rect">
            <a:avLst/>
          </a:prstGeom>
          <a:noFill/>
        </p:spPr>
        <p:txBody>
          <a:bodyPr wrap="square">
            <a:spAutoFit/>
          </a:bodyPr>
          <a:lstStyle/>
          <a:p>
            <a:pPr marL="285750" indent="-285750">
              <a:buFont typeface="Arial" panose="020B0604020202020204" pitchFamily="34" charset="0"/>
              <a:buChar char="•"/>
            </a:pPr>
            <a:r>
              <a:rPr lang="en-US" b="0" i="0" dirty="0">
                <a:solidFill>
                  <a:srgbClr val="262626"/>
                </a:solidFill>
                <a:effectLst/>
                <a:latin typeface="-apple-system"/>
              </a:rPr>
              <a:t>In the financial sector, fraudulent activities pose a significant threat, leading to substantial monetary losses and undermining customer trust. With the increasing volume of transactions and the sophistication of fraud methods, it is imperative to develop robust systems that can effectively identify and prevent fraudulent activities in real-time.</a:t>
            </a:r>
            <a:endParaRPr lang="en-IN" dirty="0"/>
          </a:p>
        </p:txBody>
      </p:sp>
      <p:sp>
        <p:nvSpPr>
          <p:cNvPr id="6" name="TextBox 5">
            <a:extLst>
              <a:ext uri="{FF2B5EF4-FFF2-40B4-BE49-F238E27FC236}">
                <a16:creationId xmlns:a16="http://schemas.microsoft.com/office/drawing/2014/main" id="{ACA24D13-9DF2-EBF1-6D7A-75ECBEBEA527}"/>
              </a:ext>
            </a:extLst>
          </p:cNvPr>
          <p:cNvSpPr txBox="1"/>
          <p:nvPr/>
        </p:nvSpPr>
        <p:spPr>
          <a:xfrm>
            <a:off x="603271" y="4192463"/>
            <a:ext cx="6265615" cy="1754326"/>
          </a:xfrm>
          <a:prstGeom prst="rect">
            <a:avLst/>
          </a:prstGeom>
          <a:noFill/>
        </p:spPr>
        <p:txBody>
          <a:bodyPr wrap="square">
            <a:spAutoFit/>
          </a:bodyPr>
          <a:lstStyle/>
          <a:p>
            <a:pPr marL="285750" indent="-285750">
              <a:buFont typeface="Arial" panose="020B0604020202020204" pitchFamily="34" charset="0"/>
              <a:buChar char="•"/>
            </a:pPr>
            <a:r>
              <a:rPr lang="en-US" b="0" i="0" dirty="0">
                <a:solidFill>
                  <a:srgbClr val="262626"/>
                </a:solidFill>
                <a:effectLst/>
                <a:latin typeface="-apple-system"/>
              </a:rPr>
              <a:t>The primary objective of this project is to </a:t>
            </a:r>
            <a:r>
              <a:rPr lang="en-US" b="1" i="0" dirty="0">
                <a:solidFill>
                  <a:srgbClr val="262626"/>
                </a:solidFill>
                <a:effectLst/>
                <a:latin typeface="-apple-system"/>
              </a:rPr>
              <a:t>develop a predictive model </a:t>
            </a:r>
            <a:r>
              <a:rPr lang="en-US" b="0" i="0" dirty="0">
                <a:solidFill>
                  <a:srgbClr val="262626"/>
                </a:solidFill>
                <a:effectLst/>
                <a:latin typeface="-apple-system"/>
              </a:rPr>
              <a:t>that accurately identifies </a:t>
            </a:r>
            <a:r>
              <a:rPr lang="en-US" b="1" i="0" dirty="0">
                <a:solidFill>
                  <a:srgbClr val="262626"/>
                </a:solidFill>
                <a:effectLst/>
                <a:latin typeface="-apple-system"/>
              </a:rPr>
              <a:t>fraudulent transactions </a:t>
            </a:r>
            <a:r>
              <a:rPr lang="en-US" b="0" i="0" dirty="0">
                <a:solidFill>
                  <a:srgbClr val="262626"/>
                </a:solidFill>
                <a:effectLst/>
                <a:latin typeface="-apple-system"/>
              </a:rPr>
              <a:t>within a dataset of financial transactions. By leveraging data science techniques, we aim to enhance the detection capabilities of fraud detection systems, thereby minimizing </a:t>
            </a:r>
            <a:r>
              <a:rPr lang="en-US" b="1" i="0" dirty="0">
                <a:solidFill>
                  <a:srgbClr val="262626"/>
                </a:solidFill>
                <a:effectLst/>
                <a:latin typeface="-apple-system"/>
              </a:rPr>
              <a:t>financial losses and protecting consumers.</a:t>
            </a:r>
            <a:endParaRPr lang="en-IN" b="1" dirty="0"/>
          </a:p>
        </p:txBody>
      </p:sp>
      <p:pic>
        <p:nvPicPr>
          <p:cNvPr id="12" name="Picture 11">
            <a:extLst>
              <a:ext uri="{FF2B5EF4-FFF2-40B4-BE49-F238E27FC236}">
                <a16:creationId xmlns:a16="http://schemas.microsoft.com/office/drawing/2014/main" id="{FC384B83-CD59-2816-00BC-27447B5DA3C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96194" y="2374405"/>
            <a:ext cx="4420464" cy="3315348"/>
          </a:xfrm>
          <a:prstGeom prst="rect">
            <a:avLst/>
          </a:prstGeom>
        </p:spPr>
      </p:pic>
    </p:spTree>
    <p:extLst>
      <p:ext uri="{BB962C8B-B14F-4D97-AF65-F5344CB8AC3E}">
        <p14:creationId xmlns:p14="http://schemas.microsoft.com/office/powerpoint/2010/main" val="8865781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C1A562C-6CCA-478F-99F7-A6A80C506670}"/>
              </a:ext>
            </a:extLst>
          </p:cNvPr>
          <p:cNvGraphicFramePr>
            <a:graphicFrameLocks noChangeAspect="1"/>
          </p:cNvGraphicFramePr>
          <p:nvPr>
            <p:custDataLst>
              <p:tags r:id="rId1"/>
            </p:custDataLst>
            <p:extLst>
              <p:ext uri="{D42A27DB-BD31-4B8C-83A1-F6EECF244321}">
                <p14:modId xmlns:p14="http://schemas.microsoft.com/office/powerpoint/2010/main" val="2725968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CC1A562C-6CCA-478F-99F7-A6A80C5066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AB39C5A-1AA3-6421-9341-47528CFF8A9D}"/>
              </a:ext>
            </a:extLst>
          </p:cNvPr>
          <p:cNvSpPr txBox="1">
            <a:spLocks/>
          </p:cNvSpPr>
          <p:nvPr/>
        </p:nvSpPr>
        <p:spPr>
          <a:xfrm>
            <a:off x="603271" y="541097"/>
            <a:ext cx="8660471" cy="1661805"/>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600" b="1" kern="120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pPr algn="l">
              <a:spcAft>
                <a:spcPts val="1200"/>
              </a:spcAft>
            </a:pPr>
            <a:r>
              <a:rPr lang="en-IN" sz="4000" b="1" i="0" dirty="0">
                <a:effectLst/>
                <a:latin typeface="-apple-system"/>
              </a:rPr>
              <a:t>Scope</a:t>
            </a:r>
          </a:p>
        </p:txBody>
      </p:sp>
      <p:sp>
        <p:nvSpPr>
          <p:cNvPr id="4" name="TextBox 3">
            <a:extLst>
              <a:ext uri="{FF2B5EF4-FFF2-40B4-BE49-F238E27FC236}">
                <a16:creationId xmlns:a16="http://schemas.microsoft.com/office/drawing/2014/main" id="{B4A1927B-4CEF-313E-0027-FA55F1B8B267}"/>
              </a:ext>
            </a:extLst>
          </p:cNvPr>
          <p:cNvSpPr txBox="1"/>
          <p:nvPr/>
        </p:nvSpPr>
        <p:spPr>
          <a:xfrm>
            <a:off x="603271" y="2104931"/>
            <a:ext cx="6085117" cy="3724096"/>
          </a:xfrm>
          <a:prstGeom prst="rect">
            <a:avLst/>
          </a:prstGeom>
          <a:noFill/>
        </p:spPr>
        <p:txBody>
          <a:bodyPr wrap="square" rtlCol="0">
            <a:spAutoFit/>
          </a:bodyPr>
          <a:lstStyle/>
          <a:p>
            <a:pPr marL="342900" indent="-342900" algn="l">
              <a:spcBef>
                <a:spcPts val="600"/>
              </a:spcBef>
              <a:spcAft>
                <a:spcPts val="600"/>
              </a:spcAft>
              <a:buFont typeface="+mj-lt"/>
              <a:buAutoNum type="arabicPeriod"/>
            </a:pPr>
            <a:r>
              <a:rPr lang="en-US" sz="1600" b="1" i="0" dirty="0">
                <a:solidFill>
                  <a:schemeClr val="bg1"/>
                </a:solidFill>
                <a:effectLst/>
                <a:latin typeface="-apple-system"/>
              </a:rPr>
              <a:t>Data Collection</a:t>
            </a:r>
            <a:endParaRPr lang="en-US" sz="1600" dirty="0">
              <a:solidFill>
                <a:schemeClr val="bg1"/>
              </a:solidFill>
              <a:latin typeface="-apple-system"/>
            </a:endParaRPr>
          </a:p>
          <a:p>
            <a:pPr marL="342900" indent="-342900" algn="l">
              <a:spcBef>
                <a:spcPts val="600"/>
              </a:spcBef>
              <a:spcAft>
                <a:spcPts val="600"/>
              </a:spcAft>
              <a:buFont typeface="+mj-lt"/>
              <a:buAutoNum type="arabicPeriod"/>
            </a:pPr>
            <a:r>
              <a:rPr lang="en-US" sz="1600" b="1" i="0" dirty="0">
                <a:solidFill>
                  <a:schemeClr val="bg1"/>
                </a:solidFill>
                <a:effectLst/>
                <a:latin typeface="-apple-system"/>
              </a:rPr>
              <a:t>Data Preprocessing</a:t>
            </a:r>
            <a:endParaRPr lang="en-US" sz="1600" b="0" i="0" dirty="0">
              <a:solidFill>
                <a:schemeClr val="bg1"/>
              </a:solidFill>
              <a:effectLst/>
              <a:latin typeface="-apple-system"/>
            </a:endParaRPr>
          </a:p>
          <a:p>
            <a:pPr marL="342900" indent="-342900" algn="l">
              <a:spcBef>
                <a:spcPts val="600"/>
              </a:spcBef>
              <a:spcAft>
                <a:spcPts val="600"/>
              </a:spcAft>
              <a:buFont typeface="+mj-lt"/>
              <a:buAutoNum type="arabicPeriod"/>
            </a:pPr>
            <a:r>
              <a:rPr lang="en-US" sz="1600" b="1" i="0" dirty="0">
                <a:solidFill>
                  <a:schemeClr val="bg1"/>
                </a:solidFill>
                <a:effectLst/>
                <a:latin typeface="-apple-system"/>
              </a:rPr>
              <a:t>Exploratory Data Analysis (EDA)</a:t>
            </a:r>
          </a:p>
          <a:p>
            <a:pPr marL="342900" indent="-342900" algn="l">
              <a:spcBef>
                <a:spcPts val="600"/>
              </a:spcBef>
              <a:spcAft>
                <a:spcPts val="600"/>
              </a:spcAft>
              <a:buFont typeface="+mj-lt"/>
              <a:buAutoNum type="arabicPeriod"/>
            </a:pPr>
            <a:r>
              <a:rPr lang="en-US" sz="1600" b="1" i="0" dirty="0">
                <a:solidFill>
                  <a:schemeClr val="bg1"/>
                </a:solidFill>
                <a:effectLst/>
                <a:latin typeface="-apple-system"/>
              </a:rPr>
              <a:t>Feature Selection</a:t>
            </a:r>
            <a:endParaRPr lang="en-US" sz="1600" dirty="0">
              <a:solidFill>
                <a:schemeClr val="bg1"/>
              </a:solidFill>
              <a:latin typeface="-apple-system"/>
            </a:endParaRPr>
          </a:p>
          <a:p>
            <a:pPr marL="342900" indent="-342900" algn="l">
              <a:spcBef>
                <a:spcPts val="600"/>
              </a:spcBef>
              <a:spcAft>
                <a:spcPts val="600"/>
              </a:spcAft>
              <a:buFont typeface="+mj-lt"/>
              <a:buAutoNum type="arabicPeriod"/>
            </a:pPr>
            <a:r>
              <a:rPr lang="en-US" sz="1600" b="1" i="0" dirty="0">
                <a:solidFill>
                  <a:schemeClr val="bg1"/>
                </a:solidFill>
                <a:effectLst/>
                <a:latin typeface="-apple-system"/>
              </a:rPr>
              <a:t>Feature Engineering</a:t>
            </a:r>
            <a:r>
              <a:rPr lang="en-US" sz="1600" b="0" i="0" dirty="0">
                <a:solidFill>
                  <a:schemeClr val="bg1"/>
                </a:solidFill>
                <a:effectLst/>
                <a:latin typeface="-apple-system"/>
              </a:rPr>
              <a:t>: Create new features based on existing data to enhance the predictive power of the models.</a:t>
            </a:r>
          </a:p>
          <a:p>
            <a:pPr marL="342900" indent="-342900" algn="l">
              <a:spcBef>
                <a:spcPts val="600"/>
              </a:spcBef>
              <a:spcAft>
                <a:spcPts val="600"/>
              </a:spcAft>
              <a:buFont typeface="+mj-lt"/>
              <a:buAutoNum type="arabicPeriod"/>
            </a:pPr>
            <a:r>
              <a:rPr lang="en-US" sz="1600" b="1" i="0" dirty="0">
                <a:solidFill>
                  <a:schemeClr val="bg1"/>
                </a:solidFill>
                <a:effectLst/>
                <a:latin typeface="-apple-system"/>
              </a:rPr>
              <a:t>Model Development</a:t>
            </a:r>
            <a:r>
              <a:rPr lang="en-US" sz="1600" b="0" i="0" dirty="0">
                <a:solidFill>
                  <a:schemeClr val="bg1"/>
                </a:solidFill>
                <a:effectLst/>
                <a:latin typeface="-apple-system"/>
              </a:rPr>
              <a:t>: Apply </a:t>
            </a:r>
            <a:r>
              <a:rPr lang="en-US" sz="1600" b="1" i="0" dirty="0">
                <a:solidFill>
                  <a:schemeClr val="bg1"/>
                </a:solidFill>
                <a:effectLst/>
                <a:latin typeface="-apple-system"/>
              </a:rPr>
              <a:t>Random Forest</a:t>
            </a:r>
            <a:r>
              <a:rPr lang="en-US" sz="1600" b="0" i="0" dirty="0">
                <a:solidFill>
                  <a:schemeClr val="bg1"/>
                </a:solidFill>
                <a:effectLst/>
                <a:latin typeface="-apple-system"/>
              </a:rPr>
              <a:t> and </a:t>
            </a:r>
            <a:r>
              <a:rPr lang="en-US" sz="1600" b="1" i="0" dirty="0" err="1">
                <a:solidFill>
                  <a:schemeClr val="bg1"/>
                </a:solidFill>
                <a:effectLst/>
                <a:latin typeface="-apple-system"/>
              </a:rPr>
              <a:t>XGBoost</a:t>
            </a:r>
            <a:r>
              <a:rPr lang="en-US" sz="1600" b="0" i="0" dirty="0">
                <a:solidFill>
                  <a:schemeClr val="bg1"/>
                </a:solidFill>
                <a:effectLst/>
                <a:latin typeface="-apple-system"/>
              </a:rPr>
              <a:t> algorithms to classify transactions as fraudulent or legitimate. </a:t>
            </a:r>
          </a:p>
          <a:p>
            <a:pPr marL="342900" indent="-342900" algn="l">
              <a:spcBef>
                <a:spcPts val="600"/>
              </a:spcBef>
              <a:spcAft>
                <a:spcPts val="600"/>
              </a:spcAft>
              <a:buFont typeface="+mj-lt"/>
              <a:buAutoNum type="arabicPeriod"/>
            </a:pPr>
            <a:r>
              <a:rPr lang="en-US" sz="1600" b="1" i="0" dirty="0">
                <a:solidFill>
                  <a:schemeClr val="bg1"/>
                </a:solidFill>
                <a:effectLst/>
                <a:latin typeface="-apple-system"/>
              </a:rPr>
              <a:t>Model Evaluation</a:t>
            </a:r>
            <a:r>
              <a:rPr lang="en-US" sz="1600" b="0" i="0" dirty="0">
                <a:solidFill>
                  <a:schemeClr val="bg1"/>
                </a:solidFill>
                <a:effectLst/>
                <a:latin typeface="-apple-system"/>
              </a:rPr>
              <a:t>: Assess the performance of the models using metrics such as accuracy, precision, recall, F1-score.</a:t>
            </a:r>
          </a:p>
        </p:txBody>
      </p:sp>
    </p:spTree>
    <p:extLst>
      <p:ext uri="{BB962C8B-B14F-4D97-AF65-F5344CB8AC3E}">
        <p14:creationId xmlns:p14="http://schemas.microsoft.com/office/powerpoint/2010/main" val="2095879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98A31F56-2179-4FCF-B65F-9D257FACA017}"/>
              </a:ext>
            </a:extLst>
          </p:cNvPr>
          <p:cNvGraphicFramePr>
            <a:graphicFrameLocks noChangeAspect="1"/>
          </p:cNvGraphicFramePr>
          <p:nvPr>
            <p:custDataLst>
              <p:tags r:id="rId1"/>
            </p:custDataLst>
            <p:extLst>
              <p:ext uri="{D42A27DB-BD31-4B8C-83A1-F6EECF244321}">
                <p14:modId xmlns:p14="http://schemas.microsoft.com/office/powerpoint/2010/main" val="1497076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9" name="Object 18" hidden="1">
                        <a:extLst>
                          <a:ext uri="{FF2B5EF4-FFF2-40B4-BE49-F238E27FC236}">
                            <a16:creationId xmlns:a16="http://schemas.microsoft.com/office/drawing/2014/main" id="{98A31F56-2179-4FCF-B65F-9D257FACA0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2">
            <a:extLst>
              <a:ext uri="{FF2B5EF4-FFF2-40B4-BE49-F238E27FC236}">
                <a16:creationId xmlns:a16="http://schemas.microsoft.com/office/drawing/2014/main" id="{8D0FB0EC-DE61-15D1-043A-EF63F54D1ED9}"/>
              </a:ext>
            </a:extLst>
          </p:cNvPr>
          <p:cNvSpPr txBox="1">
            <a:spLocks/>
          </p:cNvSpPr>
          <p:nvPr/>
        </p:nvSpPr>
        <p:spPr>
          <a:xfrm>
            <a:off x="603271" y="541097"/>
            <a:ext cx="8660471" cy="1661805"/>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600" b="1" kern="120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pPr algn="l">
              <a:spcAft>
                <a:spcPts val="1200"/>
              </a:spcAft>
            </a:pPr>
            <a:r>
              <a:rPr lang="en-IN" sz="4000" b="1" i="0" dirty="0">
                <a:solidFill>
                  <a:schemeClr val="tx1"/>
                </a:solidFill>
                <a:effectLst/>
                <a:latin typeface="-apple-system"/>
              </a:rPr>
              <a:t>Expected Outcome</a:t>
            </a:r>
          </a:p>
        </p:txBody>
      </p:sp>
      <p:sp>
        <p:nvSpPr>
          <p:cNvPr id="6" name="TextBox 5">
            <a:extLst>
              <a:ext uri="{FF2B5EF4-FFF2-40B4-BE49-F238E27FC236}">
                <a16:creationId xmlns:a16="http://schemas.microsoft.com/office/drawing/2014/main" id="{11E591F5-A193-A488-3CB7-1A750DCC8591}"/>
              </a:ext>
            </a:extLst>
          </p:cNvPr>
          <p:cNvSpPr txBox="1"/>
          <p:nvPr/>
        </p:nvSpPr>
        <p:spPr>
          <a:xfrm>
            <a:off x="707571" y="2394857"/>
            <a:ext cx="5127172" cy="313932"/>
          </a:xfrm>
          <a:prstGeom prst="rect">
            <a:avLst/>
          </a:prstGeom>
          <a:noFill/>
        </p:spPr>
        <p:txBody>
          <a:bodyPr wrap="square" rtlCol="0">
            <a:spAutoFit/>
          </a:bodyPr>
          <a:lstStyle/>
          <a:p>
            <a:pPr algn="l">
              <a:lnSpc>
                <a:spcPct val="90000"/>
              </a:lnSpc>
              <a:spcBef>
                <a:spcPts val="800"/>
              </a:spcBef>
              <a:buClr>
                <a:srgbClr val="E0044E"/>
              </a:buClr>
            </a:pPr>
            <a:r>
              <a:rPr lang="en-IN" sz="1600" dirty="0">
                <a:latin typeface="-apple-system"/>
              </a:rPr>
              <a:t>- </a:t>
            </a:r>
          </a:p>
        </p:txBody>
      </p:sp>
      <p:sp>
        <p:nvSpPr>
          <p:cNvPr id="9" name="Rectangle 4">
            <a:extLst>
              <a:ext uri="{FF2B5EF4-FFF2-40B4-BE49-F238E27FC236}">
                <a16:creationId xmlns:a16="http://schemas.microsoft.com/office/drawing/2014/main" id="{F9C874D2-3305-5CAA-B5F0-56B07EB33563}"/>
              </a:ext>
            </a:extLst>
          </p:cNvPr>
          <p:cNvSpPr>
            <a:spLocks noChangeArrowheads="1"/>
          </p:cNvSpPr>
          <p:nvPr/>
        </p:nvSpPr>
        <p:spPr bwMode="auto">
          <a:xfrm>
            <a:off x="707571" y="2551823"/>
            <a:ext cx="6425736" cy="29578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latin typeface="-apple-system"/>
              </a:rPr>
              <a:t>High-accuracy fraud detection model</a:t>
            </a:r>
            <a:r>
              <a:rPr kumimoji="0" lang="en-US" altLang="en-US" sz="1800" b="0" i="0" u="none" strike="noStrike" cap="none" normalizeH="0" baseline="0" dirty="0">
                <a:ln>
                  <a:noFill/>
                </a:ln>
                <a:solidFill>
                  <a:schemeClr val="tx1"/>
                </a:solidFill>
                <a:effectLst/>
                <a:latin typeface="-apple-system"/>
              </a:rPr>
              <a:t> with minimal false positives.</a:t>
            </a:r>
          </a:p>
          <a:p>
            <a:pPr marL="285750" marR="0" lvl="0" indent="-28575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latin typeface="-apple-system"/>
              </a:rPr>
              <a:t>Automated insights on fraudulent transaction patterns</a:t>
            </a:r>
            <a:r>
              <a:rPr kumimoji="0" lang="en-US" altLang="en-US" sz="1800" b="0" i="0" u="none" strike="noStrike" cap="none" normalizeH="0" baseline="0" dirty="0">
                <a:ln>
                  <a:noFill/>
                </a:ln>
                <a:solidFill>
                  <a:schemeClr val="tx1"/>
                </a:solidFill>
                <a:effectLst/>
                <a:latin typeface="-apple-system"/>
              </a:rPr>
              <a:t> to aid risk management.</a:t>
            </a:r>
          </a:p>
          <a:p>
            <a:pPr marL="285750" marR="0" lvl="0" indent="-28575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latin typeface="-apple-system"/>
              </a:rPr>
              <a:t>Scalable solution</a:t>
            </a:r>
            <a:r>
              <a:rPr kumimoji="0" lang="en-US" altLang="en-US" sz="1800" b="0" i="0" u="none" strike="noStrike" cap="none" normalizeH="0" baseline="0" dirty="0">
                <a:ln>
                  <a:noFill/>
                </a:ln>
                <a:solidFill>
                  <a:schemeClr val="tx1"/>
                </a:solidFill>
                <a:effectLst/>
                <a:latin typeface="-apple-system"/>
              </a:rPr>
              <a:t> that can adapt to new fraud techniques.</a:t>
            </a:r>
          </a:p>
          <a:p>
            <a:pPr marL="285750" marR="0" lvl="0" indent="-28575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1800" b="1" i="0" u="none" strike="noStrike" cap="none" normalizeH="0" baseline="0" dirty="0">
                <a:ln>
                  <a:noFill/>
                </a:ln>
                <a:solidFill>
                  <a:schemeClr val="tx1"/>
                </a:solidFill>
                <a:effectLst/>
                <a:latin typeface="-apple-system"/>
              </a:rPr>
              <a:t>Actionable recommendations</a:t>
            </a:r>
            <a:r>
              <a:rPr kumimoji="0" lang="en-US" altLang="en-US" sz="1800" b="0" i="0" u="none" strike="noStrike" cap="none" normalizeH="0" baseline="0" dirty="0">
                <a:ln>
                  <a:noFill/>
                </a:ln>
                <a:solidFill>
                  <a:schemeClr val="tx1"/>
                </a:solidFill>
                <a:effectLst/>
                <a:latin typeface="-apple-system"/>
              </a:rPr>
              <a:t> for businesses to reduce fraud-related risks. </a:t>
            </a:r>
          </a:p>
        </p:txBody>
      </p:sp>
      <p:pic>
        <p:nvPicPr>
          <p:cNvPr id="11" name="Picture 10">
            <a:extLst>
              <a:ext uri="{FF2B5EF4-FFF2-40B4-BE49-F238E27FC236}">
                <a16:creationId xmlns:a16="http://schemas.microsoft.com/office/drawing/2014/main" id="{08321016-4478-A981-AC8D-6648B1F54FA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85588" y="1761731"/>
            <a:ext cx="4149211" cy="4149211"/>
          </a:xfrm>
          <a:prstGeom prst="rect">
            <a:avLst/>
          </a:prstGeom>
        </p:spPr>
      </p:pic>
      <p:sp>
        <p:nvSpPr>
          <p:cNvPr id="12" name="Rectangle 11">
            <a:extLst>
              <a:ext uri="{FF2B5EF4-FFF2-40B4-BE49-F238E27FC236}">
                <a16:creationId xmlns:a16="http://schemas.microsoft.com/office/drawing/2014/main" id="{DF1082C3-4E22-58A4-EAE2-F612951CAE8F}"/>
              </a:ext>
            </a:extLst>
          </p:cNvPr>
          <p:cNvSpPr/>
          <p:nvPr/>
        </p:nvSpPr>
        <p:spPr>
          <a:xfrm>
            <a:off x="7434943" y="3429000"/>
            <a:ext cx="4615543" cy="555171"/>
          </a:xfrm>
          <a:prstGeom prst="rect">
            <a:avLst/>
          </a:prstGeom>
          <a:solidFill>
            <a:srgbClr val="FF000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4000" b="1" dirty="0"/>
              <a:t>STOP FRAUD</a:t>
            </a:r>
          </a:p>
        </p:txBody>
      </p:sp>
    </p:spTree>
    <p:extLst>
      <p:ext uri="{BB962C8B-B14F-4D97-AF65-F5344CB8AC3E}">
        <p14:creationId xmlns:p14="http://schemas.microsoft.com/office/powerpoint/2010/main" val="32685612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E4C825-8B07-486C-B8E6-B17D2BE721E4}"/>
              </a:ext>
            </a:extLst>
          </p:cNvPr>
          <p:cNvGraphicFramePr>
            <a:graphicFrameLocks noChangeAspect="1"/>
          </p:cNvGraphicFramePr>
          <p:nvPr>
            <p:custDataLst>
              <p:tags r:id="rId1"/>
            </p:custDataLst>
            <p:extLst>
              <p:ext uri="{D42A27DB-BD31-4B8C-83A1-F6EECF244321}">
                <p14:modId xmlns:p14="http://schemas.microsoft.com/office/powerpoint/2010/main" val="313100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6" name="Object 5" hidden="1">
                        <a:extLst>
                          <a:ext uri="{FF2B5EF4-FFF2-40B4-BE49-F238E27FC236}">
                            <a16:creationId xmlns:a16="http://schemas.microsoft.com/office/drawing/2014/main" id="{48E4C825-8B07-486C-B8E6-B17D2BE721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4642B6ED-41B1-4652-9224-4967C1820663}"/>
              </a:ext>
            </a:extLst>
          </p:cNvPr>
          <p:cNvSpPr>
            <a:spLocks noGrp="1"/>
          </p:cNvSpPr>
          <p:nvPr>
            <p:ph type="title"/>
          </p:nvPr>
        </p:nvSpPr>
        <p:spPr/>
        <p:txBody>
          <a:bodyPr/>
          <a:lstStyle/>
          <a:p>
            <a:r>
              <a:rPr lang="en-US" dirty="0"/>
              <a:t>The Fraud Detection Dataset</a:t>
            </a:r>
          </a:p>
        </p:txBody>
      </p:sp>
      <p:sp>
        <p:nvSpPr>
          <p:cNvPr id="9" name="Content Placeholder 8">
            <a:extLst>
              <a:ext uri="{FF2B5EF4-FFF2-40B4-BE49-F238E27FC236}">
                <a16:creationId xmlns:a16="http://schemas.microsoft.com/office/drawing/2014/main" id="{32CC3425-4163-4BB4-B2A2-AAFD823E4C86}"/>
              </a:ext>
            </a:extLst>
          </p:cNvPr>
          <p:cNvSpPr>
            <a:spLocks noGrp="1"/>
          </p:cNvSpPr>
          <p:nvPr>
            <p:ph sz="quarter" idx="21"/>
          </p:nvPr>
        </p:nvSpPr>
        <p:spPr>
          <a:xfrm>
            <a:off x="424543" y="1662835"/>
            <a:ext cx="7030585" cy="4324308"/>
          </a:xfrm>
        </p:spPr>
        <p:txBody>
          <a:bodyPr/>
          <a:lstStyle/>
          <a:p>
            <a:r>
              <a:rPr lang="en-US" sz="1800" b="0" i="0" dirty="0">
                <a:effectLst/>
                <a:latin typeface="system-ui"/>
              </a:rPr>
              <a:t>This dataset is designed to help </a:t>
            </a:r>
            <a:r>
              <a:rPr lang="en-US" sz="1800" b="1" i="0" dirty="0">
                <a:effectLst/>
                <a:latin typeface="system-ui"/>
              </a:rPr>
              <a:t>data scientists</a:t>
            </a:r>
            <a:r>
              <a:rPr lang="en-US" sz="1800" b="0" i="0" dirty="0">
                <a:effectLst/>
                <a:latin typeface="system-ui"/>
              </a:rPr>
              <a:t> and </a:t>
            </a:r>
            <a:r>
              <a:rPr lang="en-US" sz="1800" b="1" i="0" dirty="0">
                <a:effectLst/>
                <a:latin typeface="system-ui"/>
              </a:rPr>
              <a:t>machine learning practitioners</a:t>
            </a:r>
            <a:r>
              <a:rPr lang="en-US" sz="1800" b="0" i="0" dirty="0">
                <a:effectLst/>
                <a:latin typeface="system-ui"/>
              </a:rPr>
              <a:t> develop </a:t>
            </a:r>
            <a:r>
              <a:rPr lang="en-US" sz="1800" b="1" i="0" dirty="0">
                <a:effectLst/>
                <a:latin typeface="system-ui"/>
              </a:rPr>
              <a:t>fraud detection models</a:t>
            </a:r>
            <a:r>
              <a:rPr lang="en-US" sz="1800" b="0" i="0" dirty="0">
                <a:effectLst/>
                <a:latin typeface="system-ui"/>
              </a:rPr>
              <a:t> using </a:t>
            </a:r>
            <a:r>
              <a:rPr lang="en-US" sz="1800" b="1" i="0" dirty="0">
                <a:effectLst/>
                <a:latin typeface="system-ui"/>
              </a:rPr>
              <a:t>binary classification techniques</a:t>
            </a:r>
            <a:r>
              <a:rPr lang="en-US" sz="1800" b="0" i="0" dirty="0">
                <a:effectLst/>
                <a:latin typeface="system-ui"/>
              </a:rPr>
              <a:t> like </a:t>
            </a:r>
            <a:r>
              <a:rPr lang="en-US" sz="1800" b="1" i="0" dirty="0" err="1">
                <a:effectLst/>
                <a:latin typeface="system-ui"/>
              </a:rPr>
              <a:t>XGBoost</a:t>
            </a:r>
            <a:r>
              <a:rPr lang="en-US" sz="1800" b="0" i="0" dirty="0">
                <a:effectLst/>
                <a:latin typeface="system-ui"/>
              </a:rPr>
              <a:t> and </a:t>
            </a:r>
            <a:r>
              <a:rPr lang="en-US" sz="1800" b="1" i="0" dirty="0" err="1">
                <a:effectLst/>
                <a:latin typeface="system-ui"/>
              </a:rPr>
              <a:t>RandomForest</a:t>
            </a:r>
            <a:r>
              <a:rPr lang="en-US" sz="1800" b="0" i="0" dirty="0">
                <a:effectLst/>
                <a:latin typeface="system-ui"/>
              </a:rPr>
              <a:t>.</a:t>
            </a:r>
          </a:p>
          <a:p>
            <a:pPr marL="0" indent="0" algn="l">
              <a:buNone/>
            </a:pPr>
            <a:r>
              <a:rPr lang="en-IN" sz="1800" b="1" i="0" dirty="0">
                <a:solidFill>
                  <a:srgbClr val="28B463"/>
                </a:solidFill>
                <a:effectLst/>
                <a:latin typeface="system-ui"/>
              </a:rPr>
              <a:t>🔑 Key Features</a:t>
            </a:r>
            <a:endParaRPr lang="en-IN" sz="1800" b="1" i="0" dirty="0">
              <a:effectLst/>
              <a:latin typeface="system-ui"/>
            </a:endParaRPr>
          </a:p>
          <a:p>
            <a:pPr algn="l"/>
            <a:r>
              <a:rPr lang="en-IN" sz="1800" b="0" i="0" dirty="0">
                <a:effectLst/>
                <a:latin typeface="system-ui"/>
              </a:rPr>
              <a:t>✅ </a:t>
            </a:r>
            <a:r>
              <a:rPr lang="en-IN" sz="1800" b="1" i="0" dirty="0">
                <a:solidFill>
                  <a:srgbClr val="F39C12"/>
                </a:solidFill>
                <a:effectLst/>
                <a:latin typeface="system-ui"/>
              </a:rPr>
              <a:t>21 diverse features</a:t>
            </a:r>
            <a:r>
              <a:rPr lang="en-IN" sz="1800" b="0" i="0" dirty="0">
                <a:effectLst/>
                <a:latin typeface="system-ui"/>
              </a:rPr>
              <a:t> covering transaction details, user </a:t>
            </a:r>
            <a:r>
              <a:rPr lang="en-IN" sz="1800" b="0" i="0" dirty="0" err="1">
                <a:effectLst/>
                <a:latin typeface="system-ui"/>
              </a:rPr>
              <a:t>behavior</a:t>
            </a:r>
            <a:r>
              <a:rPr lang="en-IN" sz="1800" b="0" i="0" dirty="0">
                <a:effectLst/>
                <a:latin typeface="system-ui"/>
              </a:rPr>
              <a:t>, and risk assessment</a:t>
            </a:r>
            <a:br>
              <a:rPr lang="en-IN" sz="1800" b="0" i="0" dirty="0">
                <a:effectLst/>
                <a:latin typeface="system-ui"/>
              </a:rPr>
            </a:br>
            <a:r>
              <a:rPr lang="en-IN" sz="1800" b="0" i="0" dirty="0">
                <a:effectLst/>
                <a:latin typeface="system-ui"/>
              </a:rPr>
              <a:t>✅ </a:t>
            </a:r>
            <a:r>
              <a:rPr lang="en-IN" sz="1800" b="1" i="0" dirty="0">
                <a:solidFill>
                  <a:srgbClr val="9B59B6"/>
                </a:solidFill>
                <a:effectLst/>
                <a:latin typeface="system-ui"/>
              </a:rPr>
              <a:t>Realistic structure</a:t>
            </a:r>
            <a:r>
              <a:rPr lang="en-IN" sz="1800" b="0" i="0" dirty="0">
                <a:effectLst/>
                <a:latin typeface="system-ui"/>
              </a:rPr>
              <a:t> with numerical, categorical, and temporal data</a:t>
            </a:r>
            <a:br>
              <a:rPr lang="en-IN" sz="1800" b="0" i="0" dirty="0">
                <a:effectLst/>
                <a:latin typeface="system-ui"/>
              </a:rPr>
            </a:br>
            <a:r>
              <a:rPr lang="en-IN" sz="1800" b="0" i="0" dirty="0">
                <a:effectLst/>
                <a:latin typeface="system-ui"/>
              </a:rPr>
              <a:t>✅ </a:t>
            </a:r>
            <a:r>
              <a:rPr lang="en-IN" sz="1800" b="1" i="0" dirty="0">
                <a:solidFill>
                  <a:srgbClr val="E74C3C"/>
                </a:solidFill>
                <a:effectLst/>
                <a:latin typeface="system-ui"/>
              </a:rPr>
              <a:t>Binary fraud labels</a:t>
            </a:r>
            <a:r>
              <a:rPr lang="en-IN" sz="1800" b="0" i="0" dirty="0">
                <a:effectLst/>
                <a:latin typeface="system-ui"/>
              </a:rPr>
              <a:t>: </a:t>
            </a:r>
            <a:r>
              <a:rPr lang="en-IN" sz="1800" b="1" i="0" dirty="0">
                <a:effectLst/>
                <a:latin typeface="system-ui"/>
              </a:rPr>
              <a:t>0 = Not Fraud, 1 = Fraud</a:t>
            </a:r>
            <a:br>
              <a:rPr lang="en-IN" sz="1800" b="0" i="0" dirty="0">
                <a:effectLst/>
                <a:latin typeface="system-ui"/>
              </a:rPr>
            </a:br>
            <a:r>
              <a:rPr lang="en-IN" sz="1800" b="0" i="0" dirty="0">
                <a:effectLst/>
                <a:latin typeface="system-ui"/>
              </a:rPr>
              <a:t>✅ </a:t>
            </a:r>
            <a:r>
              <a:rPr lang="en-IN" sz="1800" b="1" i="0" dirty="0">
                <a:solidFill>
                  <a:srgbClr val="1ABC9C"/>
                </a:solidFill>
                <a:effectLst/>
                <a:latin typeface="system-ui"/>
              </a:rPr>
              <a:t>Ideal for anomaly detection, risk analysis, and security research</a:t>
            </a:r>
            <a:br>
              <a:rPr lang="en-IN" sz="1800" b="0" i="0" dirty="0">
                <a:effectLst/>
                <a:latin typeface="system-ui"/>
              </a:rPr>
            </a:br>
            <a:r>
              <a:rPr lang="en-IN" sz="1800" b="0" i="0" dirty="0">
                <a:effectLst/>
                <a:latin typeface="system-ui"/>
              </a:rPr>
              <a:t>✅ Features - </a:t>
            </a:r>
            <a:r>
              <a:rPr lang="en-US" sz="1800" b="0" i="0" dirty="0">
                <a:effectLst/>
                <a:latin typeface="system-ui"/>
              </a:rPr>
              <a:t> Transaction</a:t>
            </a:r>
            <a:r>
              <a:rPr lang="en-US" sz="1800" dirty="0">
                <a:latin typeface="system-ui"/>
              </a:rPr>
              <a:t> I</a:t>
            </a:r>
            <a:r>
              <a:rPr lang="en-US" sz="1800" b="0" i="0" dirty="0">
                <a:effectLst/>
                <a:latin typeface="system-ui"/>
              </a:rPr>
              <a:t>D, User ID, Transaction Amount, Transaction Type,  Timestamp, Account Balance and others.</a:t>
            </a:r>
          </a:p>
          <a:p>
            <a:pPr algn="l"/>
            <a:endParaRPr lang="en-US" sz="1800" dirty="0">
              <a:latin typeface="system-ui"/>
            </a:endParaRPr>
          </a:p>
          <a:p>
            <a:pPr algn="l"/>
            <a:r>
              <a:rPr lang="en-US" sz="1800" dirty="0"/>
              <a:t>Link : </a:t>
            </a:r>
            <a:r>
              <a:rPr lang="en-IN" sz="2000" b="1" i="0" dirty="0">
                <a:solidFill>
                  <a:srgbClr val="202124"/>
                </a:solidFill>
                <a:effectLst/>
                <a:latin typeface="zeitung"/>
                <a:hlinkClick r:id="rId6"/>
              </a:rPr>
              <a:t>Fraud Detection Transactions Dataset</a:t>
            </a:r>
            <a:endParaRPr lang="en-IN" sz="2000" b="1" i="0" dirty="0">
              <a:solidFill>
                <a:srgbClr val="202124"/>
              </a:solidFill>
              <a:effectLst/>
              <a:latin typeface="zeitung"/>
            </a:endParaRPr>
          </a:p>
        </p:txBody>
      </p:sp>
      <p:pic>
        <p:nvPicPr>
          <p:cNvPr id="10" name="Picture Placeholder 9" descr="A picture containing blur&#10;&#10;Description automatically generated">
            <a:extLst>
              <a:ext uri="{FF2B5EF4-FFF2-40B4-BE49-F238E27FC236}">
                <a16:creationId xmlns:a16="http://schemas.microsoft.com/office/drawing/2014/main" id="{BFE618B6-D0C3-475B-8837-A965C740348E}"/>
              </a:ext>
            </a:extLst>
          </p:cNvPr>
          <p:cNvPicPr>
            <a:picLocks noGrp="1" noChangeAspect="1"/>
          </p:cNvPicPr>
          <p:nvPr>
            <p:ph type="pic" sz="quarter" idx="18"/>
          </p:nvPr>
        </p:nvPicPr>
        <p:blipFill rotWithShape="1">
          <a:blip r:embed="rId7"/>
          <a:srcRect l="2682" t="-192" r="57854" b="192"/>
          <a:stretch/>
        </p:blipFill>
        <p:spPr>
          <a:xfrm>
            <a:off x="8128000" y="22034"/>
            <a:ext cx="4060009" cy="6858013"/>
          </a:xfrm>
          <a:prstGeom prst="rect">
            <a:avLst/>
          </a:prstGeom>
          <a:blipFill>
            <a:blip r:embed="rId8"/>
            <a:stretch>
              <a:fillRect/>
            </a:stretch>
          </a:blipFill>
        </p:spPr>
      </p:pic>
      <p:sp>
        <p:nvSpPr>
          <p:cNvPr id="3" name="Rectangle 2">
            <a:extLst>
              <a:ext uri="{FF2B5EF4-FFF2-40B4-BE49-F238E27FC236}">
                <a16:creationId xmlns:a16="http://schemas.microsoft.com/office/drawing/2014/main" id="{8404780C-E765-65AB-B726-0CC2490007CA}"/>
              </a:ext>
            </a:extLst>
          </p:cNvPr>
          <p:cNvSpPr>
            <a:spLocks noChangeArrowheads="1"/>
          </p:cNvSpPr>
          <p:nvPr/>
        </p:nvSpPr>
        <p:spPr bwMode="auto">
          <a:xfrm>
            <a:off x="0" y="90100"/>
            <a:ext cx="65"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0827012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650BDE46-906C-4820-B2CD-AF1D6C2ED836}"/>
              </a:ext>
            </a:extLst>
          </p:cNvPr>
          <p:cNvGraphicFramePr>
            <a:graphicFrameLocks noChangeAspect="1"/>
          </p:cNvGraphicFramePr>
          <p:nvPr>
            <p:custDataLst>
              <p:tags r:id="rId1"/>
            </p:custDataLst>
            <p:extLst>
              <p:ext uri="{D42A27DB-BD31-4B8C-83A1-F6EECF244321}">
                <p14:modId xmlns:p14="http://schemas.microsoft.com/office/powerpoint/2010/main" val="1701043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4" name="Object 13" hidden="1">
                        <a:extLst>
                          <a:ext uri="{FF2B5EF4-FFF2-40B4-BE49-F238E27FC236}">
                            <a16:creationId xmlns:a16="http://schemas.microsoft.com/office/drawing/2014/main" id="{650BDE46-906C-4820-B2CD-AF1D6C2ED8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Text Placeholder 29">
            <a:extLst>
              <a:ext uri="{FF2B5EF4-FFF2-40B4-BE49-F238E27FC236}">
                <a16:creationId xmlns:a16="http://schemas.microsoft.com/office/drawing/2014/main" id="{19F3C69A-DB0A-483D-BA79-BD499B644F02}"/>
              </a:ext>
            </a:extLst>
          </p:cNvPr>
          <p:cNvSpPr>
            <a:spLocks noGrp="1"/>
          </p:cNvSpPr>
          <p:nvPr>
            <p:ph type="body" sz="quarter" idx="18"/>
          </p:nvPr>
        </p:nvSpPr>
        <p:spPr>
          <a:xfrm>
            <a:off x="286203" y="1472201"/>
            <a:ext cx="2532743" cy="960986"/>
          </a:xfrm>
        </p:spPr>
        <p:txBody>
          <a:bodyPr/>
          <a:lstStyle/>
          <a:p>
            <a:r>
              <a:rPr lang="en-IN" sz="1600" dirty="0"/>
              <a:t>Dataset Exploration &amp; Preprocessing</a:t>
            </a:r>
            <a:endParaRPr lang="en-US" sz="1600" dirty="0"/>
          </a:p>
        </p:txBody>
      </p:sp>
      <p:sp>
        <p:nvSpPr>
          <p:cNvPr id="31" name="Text Placeholder 30">
            <a:extLst>
              <a:ext uri="{FF2B5EF4-FFF2-40B4-BE49-F238E27FC236}">
                <a16:creationId xmlns:a16="http://schemas.microsoft.com/office/drawing/2014/main" id="{E9F2A60F-E798-41D0-8397-D7023FCAFBC2}"/>
              </a:ext>
            </a:extLst>
          </p:cNvPr>
          <p:cNvSpPr>
            <a:spLocks noGrp="1"/>
          </p:cNvSpPr>
          <p:nvPr>
            <p:ph type="body" sz="quarter" idx="19"/>
          </p:nvPr>
        </p:nvSpPr>
        <p:spPr>
          <a:xfrm>
            <a:off x="286203" y="2724344"/>
            <a:ext cx="2532743" cy="960987"/>
          </a:xfrm>
        </p:spPr>
        <p:txBody>
          <a:bodyPr/>
          <a:lstStyle/>
          <a:p>
            <a:r>
              <a:rPr lang="en-IN" sz="1600" dirty="0"/>
              <a:t>ML Model Development</a:t>
            </a:r>
            <a:endParaRPr lang="en-US" sz="1600" dirty="0"/>
          </a:p>
        </p:txBody>
      </p:sp>
      <p:sp>
        <p:nvSpPr>
          <p:cNvPr id="32" name="Text Placeholder 31">
            <a:extLst>
              <a:ext uri="{FF2B5EF4-FFF2-40B4-BE49-F238E27FC236}">
                <a16:creationId xmlns:a16="http://schemas.microsoft.com/office/drawing/2014/main" id="{FFBEDD6A-F449-4EF8-BE78-8E1C728A18D9}"/>
              </a:ext>
            </a:extLst>
          </p:cNvPr>
          <p:cNvSpPr>
            <a:spLocks noGrp="1"/>
          </p:cNvSpPr>
          <p:nvPr>
            <p:ph type="body" sz="quarter" idx="20"/>
          </p:nvPr>
        </p:nvSpPr>
        <p:spPr>
          <a:xfrm>
            <a:off x="286203" y="4133331"/>
            <a:ext cx="2532743" cy="960986"/>
          </a:xfrm>
        </p:spPr>
        <p:txBody>
          <a:bodyPr/>
          <a:lstStyle/>
          <a:p>
            <a:r>
              <a:rPr lang="en-IN" sz="1600" dirty="0"/>
              <a:t>Model Evaluation &amp; Optimization</a:t>
            </a:r>
            <a:endParaRPr lang="en-US" sz="1600" dirty="0"/>
          </a:p>
        </p:txBody>
      </p:sp>
      <p:sp>
        <p:nvSpPr>
          <p:cNvPr id="33" name="Text Placeholder 32">
            <a:extLst>
              <a:ext uri="{FF2B5EF4-FFF2-40B4-BE49-F238E27FC236}">
                <a16:creationId xmlns:a16="http://schemas.microsoft.com/office/drawing/2014/main" id="{FA71063A-3600-4E5D-AAE2-2F3057CD381E}"/>
              </a:ext>
            </a:extLst>
          </p:cNvPr>
          <p:cNvSpPr>
            <a:spLocks noGrp="1"/>
          </p:cNvSpPr>
          <p:nvPr>
            <p:ph type="body" sz="quarter" idx="21"/>
          </p:nvPr>
        </p:nvSpPr>
        <p:spPr>
          <a:xfrm>
            <a:off x="286974" y="5442498"/>
            <a:ext cx="2532743" cy="960986"/>
          </a:xfrm>
        </p:spPr>
        <p:txBody>
          <a:bodyPr/>
          <a:lstStyle/>
          <a:p>
            <a:r>
              <a:rPr lang="en-IN" sz="1600" b="1" dirty="0"/>
              <a:t>Deployment &amp; Monitoring</a:t>
            </a:r>
            <a:r>
              <a:rPr lang="en-US" sz="1600" dirty="0"/>
              <a:t> </a:t>
            </a:r>
          </a:p>
        </p:txBody>
      </p:sp>
      <p:sp>
        <p:nvSpPr>
          <p:cNvPr id="25" name="Title 24">
            <a:extLst>
              <a:ext uri="{FF2B5EF4-FFF2-40B4-BE49-F238E27FC236}">
                <a16:creationId xmlns:a16="http://schemas.microsoft.com/office/drawing/2014/main" id="{485FF53B-F3CE-4761-9B23-7C9C0CCF0C75}"/>
              </a:ext>
            </a:extLst>
          </p:cNvPr>
          <p:cNvSpPr>
            <a:spLocks noGrp="1"/>
          </p:cNvSpPr>
          <p:nvPr>
            <p:ph type="title"/>
          </p:nvPr>
        </p:nvSpPr>
        <p:spPr/>
        <p:txBody>
          <a:bodyPr/>
          <a:lstStyle/>
          <a:p>
            <a:r>
              <a:rPr lang="en-US" dirty="0"/>
              <a:t>The Approach</a:t>
            </a:r>
          </a:p>
        </p:txBody>
      </p:sp>
      <p:sp>
        <p:nvSpPr>
          <p:cNvPr id="26" name="Text Placeholder 25">
            <a:extLst>
              <a:ext uri="{FF2B5EF4-FFF2-40B4-BE49-F238E27FC236}">
                <a16:creationId xmlns:a16="http://schemas.microsoft.com/office/drawing/2014/main" id="{A54862D4-7A4F-41DD-AD58-5EDA2C92A796}"/>
              </a:ext>
            </a:extLst>
          </p:cNvPr>
          <p:cNvSpPr>
            <a:spLocks noGrp="1"/>
          </p:cNvSpPr>
          <p:nvPr>
            <p:ph type="body" sz="quarter" idx="14"/>
          </p:nvPr>
        </p:nvSpPr>
        <p:spPr/>
        <p:txBody>
          <a:bodyPr/>
          <a:lstStyle/>
          <a:p>
            <a:r>
              <a:rPr lang="en-US" dirty="0"/>
              <a:t>Analyzing the dataset to understand transaction patterns.</a:t>
            </a:r>
          </a:p>
          <a:p>
            <a:r>
              <a:rPr lang="en-US" dirty="0"/>
              <a:t>Handling missing values, data cleaning, and feature engineering.</a:t>
            </a:r>
          </a:p>
        </p:txBody>
      </p:sp>
      <p:sp>
        <p:nvSpPr>
          <p:cNvPr id="28" name="Text Placeholder 27">
            <a:extLst>
              <a:ext uri="{FF2B5EF4-FFF2-40B4-BE49-F238E27FC236}">
                <a16:creationId xmlns:a16="http://schemas.microsoft.com/office/drawing/2014/main" id="{61A1CAE2-C203-4C62-8130-D2784FE3C810}"/>
              </a:ext>
            </a:extLst>
          </p:cNvPr>
          <p:cNvSpPr>
            <a:spLocks noGrp="1"/>
          </p:cNvSpPr>
          <p:nvPr>
            <p:ph type="body" sz="quarter" idx="16"/>
          </p:nvPr>
        </p:nvSpPr>
        <p:spPr/>
        <p:txBody>
          <a:bodyPr/>
          <a:lstStyle/>
          <a:p>
            <a:r>
              <a:rPr lang="en-IN" dirty="0"/>
              <a:t>Using precision, recall, F1-score and confusion matrix</a:t>
            </a:r>
          </a:p>
          <a:p>
            <a:r>
              <a:rPr lang="en-IN" dirty="0"/>
              <a:t>Hyperparameter tuning to enhance accuracy</a:t>
            </a:r>
            <a:endParaRPr lang="en-US" dirty="0"/>
          </a:p>
        </p:txBody>
      </p:sp>
      <p:sp>
        <p:nvSpPr>
          <p:cNvPr id="2" name="Text Placeholder 1">
            <a:extLst>
              <a:ext uri="{FF2B5EF4-FFF2-40B4-BE49-F238E27FC236}">
                <a16:creationId xmlns:a16="http://schemas.microsoft.com/office/drawing/2014/main" id="{1C3DE9F3-98AC-E4BC-0AB8-2CF9A38370F1}"/>
              </a:ext>
            </a:extLst>
          </p:cNvPr>
          <p:cNvSpPr>
            <a:spLocks noGrp="1" noChangeArrowheads="1"/>
          </p:cNvSpPr>
          <p:nvPr>
            <p:ph type="body" sz="quarter" idx="15"/>
          </p:nvPr>
        </p:nvSpPr>
        <p:spPr bwMode="auto">
          <a:xfrm>
            <a:off x="3406775" y="2708584"/>
            <a:ext cx="9076011" cy="1061829"/>
          </a:xfrm>
          <a:prstGeom prst="rect">
            <a:avLst/>
          </a:prstGeom>
        </p:spPr>
        <p:txBody>
          <a:bodyPr vert="horz" lIns="91440" tIns="45720" rIns="91440" bIns="45720" rtlCol="0">
            <a:noAutofit/>
          </a:bodyPr>
          <a:lstStyle/>
          <a:p>
            <a:r>
              <a:rPr lang="en-US" altLang="en-US" dirty="0"/>
              <a:t>Implementing supervised and unsupervised learning techniques.</a:t>
            </a:r>
          </a:p>
          <a:p>
            <a:r>
              <a:rPr lang="en-US" altLang="en-US" dirty="0"/>
              <a:t>Comparing models like Random Forest and </a:t>
            </a:r>
            <a:r>
              <a:rPr lang="en-US" altLang="en-US" dirty="0" err="1"/>
              <a:t>XGBoost</a:t>
            </a:r>
            <a:endParaRPr lang="en-US" altLang="en-US" dirty="0"/>
          </a:p>
        </p:txBody>
      </p:sp>
      <p:sp>
        <p:nvSpPr>
          <p:cNvPr id="3" name="Text Placeholder 2">
            <a:extLst>
              <a:ext uri="{FF2B5EF4-FFF2-40B4-BE49-F238E27FC236}">
                <a16:creationId xmlns:a16="http://schemas.microsoft.com/office/drawing/2014/main" id="{E24EB8EA-F77A-BDB3-B4FD-F8808E6852D1}"/>
              </a:ext>
            </a:extLst>
          </p:cNvPr>
          <p:cNvSpPr>
            <a:spLocks noGrp="1" noChangeArrowheads="1"/>
          </p:cNvSpPr>
          <p:nvPr>
            <p:ph type="body" sz="quarter" idx="17"/>
          </p:nvPr>
        </p:nvSpPr>
        <p:spPr bwMode="auto">
          <a:xfrm>
            <a:off x="3221718" y="5584437"/>
            <a:ext cx="7738016" cy="338554"/>
          </a:xfrm>
          <a:prstGeom prst="rect">
            <a:avLst/>
          </a:prstGeom>
        </p:spPr>
        <p:txBody>
          <a:bodyPr vert="horz" lIns="91440" tIns="45720" rIns="91440" bIns="45720" rtlCol="0">
            <a:noAutofit/>
          </a:bodyPr>
          <a:lstStyle/>
          <a:p>
            <a:pPr marL="228600" lvl="1" indent="0">
              <a:buNone/>
            </a:pPr>
            <a:r>
              <a:rPr lang="en-US" b="1" dirty="0"/>
              <a:t>Deploying the model as an API or integrating with existing transaction systems</a:t>
            </a:r>
          </a:p>
          <a:p>
            <a:pPr marL="228600" lvl="1" indent="0">
              <a:buNone/>
            </a:pPr>
            <a:r>
              <a:rPr lang="en-US" b="1" dirty="0"/>
              <a:t>Deployment using FLASK</a:t>
            </a:r>
          </a:p>
        </p:txBody>
      </p:sp>
    </p:spTree>
    <p:extLst>
      <p:ext uri="{BB962C8B-B14F-4D97-AF65-F5344CB8AC3E}">
        <p14:creationId xmlns:p14="http://schemas.microsoft.com/office/powerpoint/2010/main" val="18575167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B0DAA3A-6531-A5D4-7D74-EA9B99731884}"/>
              </a:ext>
            </a:extLst>
          </p:cNvPr>
          <p:cNvSpPr>
            <a:spLocks noGrp="1"/>
          </p:cNvSpPr>
          <p:nvPr>
            <p:ph type="title"/>
          </p:nvPr>
        </p:nvSpPr>
        <p:spPr/>
        <p:txBody>
          <a:bodyPr/>
          <a:lstStyle/>
          <a:p>
            <a:r>
              <a:rPr lang="en-IN" dirty="0"/>
              <a:t>Data Insights</a:t>
            </a:r>
          </a:p>
        </p:txBody>
      </p:sp>
      <p:pic>
        <p:nvPicPr>
          <p:cNvPr id="6" name="Content Placeholder 5">
            <a:extLst>
              <a:ext uri="{FF2B5EF4-FFF2-40B4-BE49-F238E27FC236}">
                <a16:creationId xmlns:a16="http://schemas.microsoft.com/office/drawing/2014/main" id="{7F1387C2-D603-7C77-B07D-339A4AC35554}"/>
              </a:ext>
            </a:extLst>
          </p:cNvPr>
          <p:cNvPicPr>
            <a:picLocks noGrp="1" noChangeAspect="1"/>
          </p:cNvPicPr>
          <p:nvPr>
            <p:ph sz="quarter" idx="21"/>
          </p:nvPr>
        </p:nvPicPr>
        <p:blipFill>
          <a:blip r:embed="rId2"/>
          <a:stretch>
            <a:fillRect/>
          </a:stretch>
        </p:blipFill>
        <p:spPr>
          <a:xfrm>
            <a:off x="5715000" y="267211"/>
            <a:ext cx="5889624" cy="4457608"/>
          </a:xfrm>
        </p:spPr>
      </p:pic>
      <p:pic>
        <p:nvPicPr>
          <p:cNvPr id="8" name="Picture 7">
            <a:extLst>
              <a:ext uri="{FF2B5EF4-FFF2-40B4-BE49-F238E27FC236}">
                <a16:creationId xmlns:a16="http://schemas.microsoft.com/office/drawing/2014/main" id="{A77281E4-187F-EA9A-A152-723458799FEF}"/>
              </a:ext>
            </a:extLst>
          </p:cNvPr>
          <p:cNvPicPr>
            <a:picLocks noChangeAspect="1"/>
          </p:cNvPicPr>
          <p:nvPr/>
        </p:nvPicPr>
        <p:blipFill>
          <a:blip r:embed="rId3"/>
          <a:stretch>
            <a:fillRect/>
          </a:stretch>
        </p:blipFill>
        <p:spPr>
          <a:xfrm>
            <a:off x="5856386" y="4724819"/>
            <a:ext cx="5748238" cy="1739989"/>
          </a:xfrm>
          <a:prstGeom prst="rect">
            <a:avLst/>
          </a:prstGeom>
        </p:spPr>
      </p:pic>
      <p:pic>
        <p:nvPicPr>
          <p:cNvPr id="10" name="Picture 9">
            <a:extLst>
              <a:ext uri="{FF2B5EF4-FFF2-40B4-BE49-F238E27FC236}">
                <a16:creationId xmlns:a16="http://schemas.microsoft.com/office/drawing/2014/main" id="{A9D6EDF0-AE01-FEDE-ACFA-C954860B5C22}"/>
              </a:ext>
            </a:extLst>
          </p:cNvPr>
          <p:cNvPicPr>
            <a:picLocks noChangeAspect="1"/>
          </p:cNvPicPr>
          <p:nvPr/>
        </p:nvPicPr>
        <p:blipFill>
          <a:blip r:embed="rId4"/>
          <a:stretch>
            <a:fillRect/>
          </a:stretch>
        </p:blipFill>
        <p:spPr>
          <a:xfrm>
            <a:off x="763465" y="1211917"/>
            <a:ext cx="2387723" cy="1016052"/>
          </a:xfrm>
          <a:prstGeom prst="rect">
            <a:avLst/>
          </a:prstGeom>
        </p:spPr>
      </p:pic>
      <p:pic>
        <p:nvPicPr>
          <p:cNvPr id="12" name="Picture 11">
            <a:extLst>
              <a:ext uri="{FF2B5EF4-FFF2-40B4-BE49-F238E27FC236}">
                <a16:creationId xmlns:a16="http://schemas.microsoft.com/office/drawing/2014/main" id="{6F9CF8EC-DDAA-D733-3DCD-692C9EC72529}"/>
              </a:ext>
            </a:extLst>
          </p:cNvPr>
          <p:cNvPicPr>
            <a:picLocks noChangeAspect="1"/>
          </p:cNvPicPr>
          <p:nvPr/>
        </p:nvPicPr>
        <p:blipFill>
          <a:blip r:embed="rId5"/>
          <a:stretch>
            <a:fillRect/>
          </a:stretch>
        </p:blipFill>
        <p:spPr>
          <a:xfrm>
            <a:off x="423061" y="2572568"/>
            <a:ext cx="4705592" cy="3454578"/>
          </a:xfrm>
          <a:prstGeom prst="rect">
            <a:avLst/>
          </a:prstGeom>
        </p:spPr>
      </p:pic>
    </p:spTree>
    <p:extLst>
      <p:ext uri="{BB962C8B-B14F-4D97-AF65-F5344CB8AC3E}">
        <p14:creationId xmlns:p14="http://schemas.microsoft.com/office/powerpoint/2010/main" val="40805298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BAE1B037-11FB-4AFB-ADDB-529484C4BB53}"/>
              </a:ext>
            </a:extLst>
          </p:cNvPr>
          <p:cNvGraphicFramePr>
            <a:graphicFrameLocks noChangeAspect="1"/>
          </p:cNvGraphicFramePr>
          <p:nvPr>
            <p:custDataLst>
              <p:tags r:id="rId1"/>
            </p:custDataLst>
            <p:extLst>
              <p:ext uri="{D42A27DB-BD31-4B8C-83A1-F6EECF244321}">
                <p14:modId xmlns:p14="http://schemas.microsoft.com/office/powerpoint/2010/main" val="283257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8" name="Object 17" hidden="1">
                        <a:extLst>
                          <a:ext uri="{FF2B5EF4-FFF2-40B4-BE49-F238E27FC236}">
                            <a16:creationId xmlns:a16="http://schemas.microsoft.com/office/drawing/2014/main" id="{BAE1B037-11FB-4AFB-ADDB-529484C4BB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A0F1FA8B-2678-4EA9-A999-9334D4FB045D}"/>
              </a:ext>
            </a:extLst>
          </p:cNvPr>
          <p:cNvSpPr>
            <a:spLocks noGrp="1"/>
          </p:cNvSpPr>
          <p:nvPr>
            <p:ph type="body" sz="quarter" idx="19"/>
          </p:nvPr>
        </p:nvSpPr>
        <p:spPr>
          <a:xfrm>
            <a:off x="638113" y="1191986"/>
            <a:ext cx="3273552" cy="548640"/>
          </a:xfrm>
        </p:spPr>
        <p:txBody>
          <a:bodyPr/>
          <a:lstStyle/>
          <a:p>
            <a:r>
              <a:rPr lang="en-US" dirty="0"/>
              <a:t>Random Forest</a:t>
            </a:r>
          </a:p>
        </p:txBody>
      </p:sp>
      <p:sp>
        <p:nvSpPr>
          <p:cNvPr id="14" name="Text Placeholder 13">
            <a:extLst>
              <a:ext uri="{FF2B5EF4-FFF2-40B4-BE49-F238E27FC236}">
                <a16:creationId xmlns:a16="http://schemas.microsoft.com/office/drawing/2014/main" id="{5B039A7D-410E-4501-89C2-9CB06E93DC71}"/>
              </a:ext>
            </a:extLst>
          </p:cNvPr>
          <p:cNvSpPr>
            <a:spLocks noGrp="1"/>
          </p:cNvSpPr>
          <p:nvPr>
            <p:ph type="body" sz="quarter" idx="20"/>
          </p:nvPr>
        </p:nvSpPr>
        <p:spPr>
          <a:xfrm>
            <a:off x="4528216" y="1191986"/>
            <a:ext cx="3273552" cy="548640"/>
          </a:xfrm>
        </p:spPr>
        <p:txBody>
          <a:bodyPr/>
          <a:lstStyle/>
          <a:p>
            <a:r>
              <a:rPr lang="en-US" dirty="0" err="1"/>
              <a:t>XGBoost</a:t>
            </a:r>
            <a:endParaRPr lang="en-US" dirty="0"/>
          </a:p>
        </p:txBody>
      </p:sp>
      <p:sp>
        <p:nvSpPr>
          <p:cNvPr id="11" name="Title 10">
            <a:extLst>
              <a:ext uri="{FF2B5EF4-FFF2-40B4-BE49-F238E27FC236}">
                <a16:creationId xmlns:a16="http://schemas.microsoft.com/office/drawing/2014/main" id="{6A191C46-8B74-48B8-BAB1-35A3E3D6527E}"/>
              </a:ext>
            </a:extLst>
          </p:cNvPr>
          <p:cNvSpPr>
            <a:spLocks noGrp="1"/>
          </p:cNvSpPr>
          <p:nvPr>
            <p:ph type="title"/>
          </p:nvPr>
        </p:nvSpPr>
        <p:spPr/>
        <p:txBody>
          <a:bodyPr/>
          <a:lstStyle/>
          <a:p>
            <a:r>
              <a:rPr lang="en-US" dirty="0"/>
              <a:t>Model Comparison</a:t>
            </a:r>
          </a:p>
        </p:txBody>
      </p:sp>
      <p:sp>
        <p:nvSpPr>
          <p:cNvPr id="16" name="Text Placeholder 15">
            <a:extLst>
              <a:ext uri="{FF2B5EF4-FFF2-40B4-BE49-F238E27FC236}">
                <a16:creationId xmlns:a16="http://schemas.microsoft.com/office/drawing/2014/main" id="{94B66589-E8E2-4623-8049-EB436D5B7A39}"/>
              </a:ext>
            </a:extLst>
          </p:cNvPr>
          <p:cNvSpPr>
            <a:spLocks noGrp="1"/>
          </p:cNvSpPr>
          <p:nvPr>
            <p:ph type="body" sz="quarter" idx="22"/>
          </p:nvPr>
        </p:nvSpPr>
        <p:spPr>
          <a:xfrm>
            <a:off x="587375" y="1904106"/>
            <a:ext cx="3375025" cy="4121693"/>
          </a:xfrm>
        </p:spPr>
        <p:txBody>
          <a:bodyPr/>
          <a:lstStyle/>
          <a:p>
            <a:pPr algn="l"/>
            <a:r>
              <a:rPr lang="en-US" b="0" i="0" dirty="0">
                <a:effectLst/>
                <a:latin typeface="system-ui"/>
              </a:rPr>
              <a:t>Random Forest is an ensemble learning method that builds multiple decision trees and merges their results for better accuracy and stability. It helps reduce overfitting and improves generalization.</a:t>
            </a:r>
          </a:p>
          <a:p>
            <a:pPr algn="l">
              <a:buFont typeface="Arial" panose="020B0604020202020204" pitchFamily="34" charset="0"/>
              <a:buChar char="•"/>
            </a:pPr>
            <a:r>
              <a:rPr lang="en-US" b="1" i="0" dirty="0">
                <a:effectLst/>
                <a:latin typeface="system-ui"/>
              </a:rPr>
              <a:t>Bagging technique</a:t>
            </a:r>
            <a:r>
              <a:rPr lang="en-US" b="0" i="0" dirty="0">
                <a:effectLst/>
                <a:latin typeface="system-ui"/>
              </a:rPr>
              <a:t>: Uses bootstrapped samples to train individual trees.</a:t>
            </a:r>
          </a:p>
          <a:p>
            <a:pPr algn="l">
              <a:buFont typeface="Arial" panose="020B0604020202020204" pitchFamily="34" charset="0"/>
              <a:buChar char="•"/>
            </a:pPr>
            <a:r>
              <a:rPr lang="en-US" b="1" i="0" dirty="0">
                <a:effectLst/>
                <a:latin typeface="system-ui"/>
              </a:rPr>
              <a:t>Feature randomness</a:t>
            </a:r>
            <a:r>
              <a:rPr lang="en-US" b="0" i="0" dirty="0">
                <a:effectLst/>
                <a:latin typeface="system-ui"/>
              </a:rPr>
              <a:t>: Each tree gets a random subset of features, reducing correlation.</a:t>
            </a:r>
          </a:p>
          <a:p>
            <a:pPr algn="l">
              <a:buFont typeface="Arial" panose="020B0604020202020204" pitchFamily="34" charset="0"/>
              <a:buChar char="•"/>
            </a:pPr>
            <a:r>
              <a:rPr lang="en-US" b="1" i="0" dirty="0">
                <a:effectLst/>
                <a:latin typeface="system-ui"/>
              </a:rPr>
              <a:t>Strength</a:t>
            </a:r>
            <a:r>
              <a:rPr lang="en-US" b="0" i="0" dirty="0">
                <a:effectLst/>
                <a:latin typeface="system-ui"/>
              </a:rPr>
              <a:t>: Works well for large datasets and handles missing values efficiently.</a:t>
            </a:r>
          </a:p>
          <a:p>
            <a:endParaRPr lang="en-US" dirty="0"/>
          </a:p>
        </p:txBody>
      </p:sp>
      <p:sp>
        <p:nvSpPr>
          <p:cNvPr id="17" name="Text Placeholder 16">
            <a:extLst>
              <a:ext uri="{FF2B5EF4-FFF2-40B4-BE49-F238E27FC236}">
                <a16:creationId xmlns:a16="http://schemas.microsoft.com/office/drawing/2014/main" id="{E899E9BF-D9F4-4019-9BB5-1A587C675CF4}"/>
              </a:ext>
            </a:extLst>
          </p:cNvPr>
          <p:cNvSpPr>
            <a:spLocks noGrp="1"/>
          </p:cNvSpPr>
          <p:nvPr>
            <p:ph type="body" sz="quarter" idx="23"/>
          </p:nvPr>
        </p:nvSpPr>
        <p:spPr>
          <a:xfrm>
            <a:off x="4390231" y="1904106"/>
            <a:ext cx="3375025" cy="4121693"/>
          </a:xfrm>
        </p:spPr>
        <p:txBody>
          <a:bodyPr/>
          <a:lstStyle/>
          <a:p>
            <a:pPr algn="l"/>
            <a:r>
              <a:rPr lang="en-US" b="0" i="0" dirty="0" err="1">
                <a:effectLst/>
                <a:latin typeface="system-ui"/>
              </a:rPr>
              <a:t>XGBoost</a:t>
            </a:r>
            <a:r>
              <a:rPr lang="en-US" b="0" i="0" dirty="0">
                <a:effectLst/>
                <a:latin typeface="system-ui"/>
              </a:rPr>
              <a:t> is an advanced gradient boosting algorithm that optimizes speed and performance. It sequentially builds trees while correcting the errors of previous trees.</a:t>
            </a:r>
          </a:p>
          <a:p>
            <a:pPr algn="l">
              <a:buFont typeface="Arial" panose="020B0604020202020204" pitchFamily="34" charset="0"/>
              <a:buChar char="•"/>
            </a:pPr>
            <a:r>
              <a:rPr lang="en-US" b="1" i="0" dirty="0">
                <a:effectLst/>
                <a:latin typeface="system-ui"/>
              </a:rPr>
              <a:t>Boosting technique</a:t>
            </a:r>
            <a:r>
              <a:rPr lang="en-US" b="0" i="0" dirty="0">
                <a:effectLst/>
                <a:latin typeface="system-ui"/>
              </a:rPr>
              <a:t>: Trees are built sequentially, focusing on reducing errors.</a:t>
            </a:r>
          </a:p>
          <a:p>
            <a:pPr algn="l">
              <a:buFont typeface="Arial" panose="020B0604020202020204" pitchFamily="34" charset="0"/>
              <a:buChar char="•"/>
            </a:pPr>
            <a:r>
              <a:rPr lang="en-US" b="1" i="0" dirty="0">
                <a:effectLst/>
                <a:latin typeface="system-ui"/>
              </a:rPr>
              <a:t>Regularization</a:t>
            </a:r>
            <a:r>
              <a:rPr lang="en-US" b="0" i="0" dirty="0">
                <a:effectLst/>
                <a:latin typeface="system-ui"/>
              </a:rPr>
              <a:t>: L1 &amp; L2 regularization prevent overfitting.</a:t>
            </a:r>
          </a:p>
          <a:p>
            <a:pPr algn="l">
              <a:buFont typeface="Arial" panose="020B0604020202020204" pitchFamily="34" charset="0"/>
              <a:buChar char="•"/>
            </a:pPr>
            <a:r>
              <a:rPr lang="en-US" b="1" i="0" dirty="0">
                <a:effectLst/>
                <a:latin typeface="system-ui"/>
              </a:rPr>
              <a:t>Strength</a:t>
            </a:r>
            <a:r>
              <a:rPr lang="en-US" b="0" i="0" dirty="0">
                <a:effectLst/>
                <a:latin typeface="system-ui"/>
              </a:rPr>
              <a:t>: Faster, efficient, and widely used in Kaggle competitions.</a:t>
            </a:r>
          </a:p>
        </p:txBody>
      </p:sp>
      <p:pic>
        <p:nvPicPr>
          <p:cNvPr id="5" name="Picture 4">
            <a:extLst>
              <a:ext uri="{FF2B5EF4-FFF2-40B4-BE49-F238E27FC236}">
                <a16:creationId xmlns:a16="http://schemas.microsoft.com/office/drawing/2014/main" id="{3074F663-D749-4015-B8AB-6A0577B0B5AE}"/>
              </a:ext>
            </a:extLst>
          </p:cNvPr>
          <p:cNvPicPr>
            <a:picLocks noChangeAspect="1"/>
          </p:cNvPicPr>
          <p:nvPr/>
        </p:nvPicPr>
        <p:blipFill>
          <a:blip r:embed="rId6"/>
          <a:srcRect r="54922"/>
          <a:stretch/>
        </p:blipFill>
        <p:spPr>
          <a:xfrm>
            <a:off x="8951720" y="791228"/>
            <a:ext cx="2257660" cy="2637772"/>
          </a:xfrm>
          <a:prstGeom prst="rect">
            <a:avLst/>
          </a:prstGeom>
          <a:ln w="57150">
            <a:solidFill>
              <a:schemeClr val="bg2"/>
            </a:solidFill>
          </a:ln>
        </p:spPr>
      </p:pic>
      <p:pic>
        <p:nvPicPr>
          <p:cNvPr id="7" name="Picture 6">
            <a:extLst>
              <a:ext uri="{FF2B5EF4-FFF2-40B4-BE49-F238E27FC236}">
                <a16:creationId xmlns:a16="http://schemas.microsoft.com/office/drawing/2014/main" id="{6C8732D3-3BBF-BF62-6C45-BA7717306F7B}"/>
              </a:ext>
            </a:extLst>
          </p:cNvPr>
          <p:cNvPicPr>
            <a:picLocks noChangeAspect="1"/>
          </p:cNvPicPr>
          <p:nvPr/>
        </p:nvPicPr>
        <p:blipFill>
          <a:blip r:embed="rId6"/>
          <a:srcRect l="56894"/>
          <a:stretch/>
        </p:blipFill>
        <p:spPr>
          <a:xfrm>
            <a:off x="8951720" y="3827036"/>
            <a:ext cx="2257660" cy="2637772"/>
          </a:xfrm>
          <a:prstGeom prst="rect">
            <a:avLst/>
          </a:prstGeom>
          <a:ln w="57150">
            <a:solidFill>
              <a:schemeClr val="accent3">
                <a:lumMod val="60000"/>
                <a:lumOff val="40000"/>
              </a:schemeClr>
            </a:solidFill>
          </a:ln>
        </p:spPr>
      </p:pic>
    </p:spTree>
    <p:extLst>
      <p:ext uri="{BB962C8B-B14F-4D97-AF65-F5344CB8AC3E}">
        <p14:creationId xmlns:p14="http://schemas.microsoft.com/office/powerpoint/2010/main" val="40622527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OFFICE THEME" val="9HZAeM0A"/>
  <p:tag name="ARTICULATE_PROJECT_OPEN" val="0"/>
  <p:tag name="ARTICULATE_SLIDE_COUNT" val="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5">
      <a:dk1>
        <a:srgbClr val="414042"/>
      </a:dk1>
      <a:lt1>
        <a:srgbClr val="FFFFFF"/>
      </a:lt1>
      <a:dk2>
        <a:srgbClr val="E0044E"/>
      </a:dk2>
      <a:lt2>
        <a:srgbClr val="786EAA"/>
      </a:lt2>
      <a:accent1>
        <a:srgbClr val="43224D"/>
      </a:accent1>
      <a:accent2>
        <a:srgbClr val="786EAA"/>
      </a:accent2>
      <a:accent3>
        <a:srgbClr val="A297B4"/>
      </a:accent3>
      <a:accent4>
        <a:srgbClr val="3265AA"/>
      </a:accent4>
      <a:accent5>
        <a:srgbClr val="4CB4E7"/>
      </a:accent5>
      <a:accent6>
        <a:srgbClr val="4D80AF"/>
      </a:accent6>
      <a:hlink>
        <a:srgbClr val="AA274F"/>
      </a:hlink>
      <a:folHlink>
        <a:srgbClr val="954F72"/>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lnSpc>
            <a:spcPct val="90000"/>
          </a:lnSpc>
          <a:spcBef>
            <a:spcPts val="800"/>
          </a:spcBef>
          <a:buClr>
            <a:srgbClr val="E0044E"/>
          </a:buClr>
          <a:defRPr sz="1600" dirty="0" err="1" smtClean="0"/>
        </a:defPPr>
      </a:lstStyle>
    </a:txDef>
  </a:objectDefaults>
  <a:extraClrSchemeLst/>
  <a:extLst>
    <a:ext uri="{05A4C25C-085E-4340-85A3-A5531E510DB2}">
      <thm15:themeFamily xmlns:thm15="http://schemas.microsoft.com/office/thememl/2012/main" name="PPT Template Level 1 final (4) (006)" id="{3D85603D-E974-4F74-9D75-7FDEE48D2BB6}" vid="{DE4643A6-B4CE-4109-B177-A99106B5EBA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707CA101499EC41A05C9C174F69B4A9" ma:contentTypeVersion="18" ma:contentTypeDescription="Create a new document." ma:contentTypeScope="" ma:versionID="02649d3c12ec390efa0a31df4d810481">
  <xsd:schema xmlns:xsd="http://www.w3.org/2001/XMLSchema" xmlns:xs="http://www.w3.org/2001/XMLSchema" xmlns:p="http://schemas.microsoft.com/office/2006/metadata/properties" xmlns:ns2="91dfd653-2811-4b37-99fb-1fa5c8b15716" xmlns:ns3="fa29c051-6797-488d-98d5-680bcebe3164" targetNamespace="http://schemas.microsoft.com/office/2006/metadata/properties" ma:root="true" ma:fieldsID="74190fdb436c4dad837cc58b738d01c3" ns2:_="" ns3:_="">
    <xsd:import namespace="91dfd653-2811-4b37-99fb-1fa5c8b15716"/>
    <xsd:import namespace="fa29c051-6797-488d-98d5-680bcebe316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lcf76f155ced4ddcb4097134ff3c332f" minOccurs="0"/>
                <xsd:element ref="ns3:TaxCatchAll"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dfd653-2811-4b37-99fb-1fa5c8b1571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6dca52e8-7373-4df4-a0ed-4d31ffe62b11" ma:termSetId="09814cd3-568e-fe90-9814-8d621ff8fb84" ma:anchorId="fba54fb3-c3e1-fe81-a776-ca4b69148c4d" ma:open="true" ma:isKeyword="false">
      <xsd:complexType>
        <xsd:sequence>
          <xsd:element ref="pc:Terms" minOccurs="0" maxOccurs="1"/>
        </xsd:sequence>
      </xsd:complexType>
    </xsd:element>
    <xsd:element name="MediaServiceLocation" ma:index="22"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29c051-6797-488d-98d5-680bcebe3164" elementFormDefault="qualified">
    <xsd:import namespace="http://schemas.microsoft.com/office/2006/documentManagement/types"/>
    <xsd:import namespace="http://schemas.microsoft.com/office/infopath/2007/PartnerControls"/>
    <xsd:element name="SharedWithUsers" ma:index="12"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hidden="true" ma:internalName="SharedWithDetails" ma:readOnly="true">
      <xsd:simpleType>
        <xsd:restriction base="dms:Note"/>
      </xsd:simpleType>
    </xsd:element>
    <xsd:element name="TaxCatchAll" ma:index="21" nillable="true" ma:displayName="Taxonomy Catch All Column" ma:hidden="true" ma:list="{f53a0eb1-9781-4ed8-8e8b-ac497d8a398f}" ma:internalName="TaxCatchAll" ma:showField="CatchAllData" ma:web="fa29c051-6797-488d-98d5-680bcebe316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fa29c051-6797-488d-98d5-680bcebe3164" xsi:nil="true"/>
    <lcf76f155ced4ddcb4097134ff3c332f xmlns="91dfd653-2811-4b37-99fb-1fa5c8b15716">
      <Terms xmlns="http://schemas.microsoft.com/office/infopath/2007/PartnerControls"/>
    </lcf76f155ced4ddcb4097134ff3c332f>
    <SharedWithUsers xmlns="fa29c051-6797-488d-98d5-680bcebe3164">
      <UserInfo>
        <DisplayName>Taylor Pellerin</DisplayName>
        <AccountId>217</AccountId>
        <AccountType/>
      </UserInfo>
    </SharedWithUsers>
  </documentManagement>
</p:properties>
</file>

<file path=customXml/itemProps1.xml><?xml version="1.0" encoding="utf-8"?>
<ds:datastoreItem xmlns:ds="http://schemas.openxmlformats.org/officeDocument/2006/customXml" ds:itemID="{541AA570-F3AC-4DB7-9994-899B05E9329D}">
  <ds:schemaRefs>
    <ds:schemaRef ds:uri="http://schemas.microsoft.com/sharepoint/v3/contenttype/forms"/>
  </ds:schemaRefs>
</ds:datastoreItem>
</file>

<file path=customXml/itemProps2.xml><?xml version="1.0" encoding="utf-8"?>
<ds:datastoreItem xmlns:ds="http://schemas.openxmlformats.org/officeDocument/2006/customXml" ds:itemID="{68EA6F98-FFD8-424E-A96B-4D9F3C4B056D}">
  <ds:schemaRefs>
    <ds:schemaRef ds:uri="91dfd653-2811-4b37-99fb-1fa5c8b15716"/>
    <ds:schemaRef ds:uri="fa29c051-6797-488d-98d5-680bcebe316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F9BB0FC-876D-48FD-9C18-2987A830FE5F}">
  <ds:schemaRefs>
    <ds:schemaRef ds:uri="http://purl.org/dc/elements/1.1/"/>
    <ds:schemaRef ds:uri="http://www.w3.org/XML/1998/namespace"/>
    <ds:schemaRef ds:uri="http://purl.org/dc/terms/"/>
    <ds:schemaRef ds:uri="91dfd653-2811-4b37-99fb-1fa5c8b15716"/>
    <ds:schemaRef ds:uri="http://schemas.microsoft.com/office/2006/metadata/properties"/>
    <ds:schemaRef ds:uri="http://schemas.microsoft.com/office/infopath/2007/PartnerControls"/>
    <ds:schemaRef ds:uri="http://schemas.microsoft.com/office/2006/documentManagement/types"/>
    <ds:schemaRef ds:uri="http://schemas.openxmlformats.org/package/2006/metadata/core-properties"/>
    <ds:schemaRef ds:uri="fa29c051-6797-488d-98d5-680bcebe3164"/>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067</TotalTime>
  <Words>876</Words>
  <Application>Microsoft Office PowerPoint</Application>
  <PresentationFormat>Widescreen</PresentationFormat>
  <Paragraphs>102</Paragraphs>
  <Slides>13</Slides>
  <Notes>8</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4" baseType="lpstr">
      <vt:lpstr>-apple-system</vt:lpstr>
      <vt:lpstr>Arial</vt:lpstr>
      <vt:lpstr>Arial Unicode MS</vt:lpstr>
      <vt:lpstr>Calibri</vt:lpstr>
      <vt:lpstr>Courier New</vt:lpstr>
      <vt:lpstr>Rockwell</vt:lpstr>
      <vt:lpstr>Segoe UI</vt:lpstr>
      <vt:lpstr>system-ui</vt:lpstr>
      <vt:lpstr>zeitung</vt:lpstr>
      <vt:lpstr>Office Theme</vt:lpstr>
      <vt:lpstr>think-cell Slide</vt:lpstr>
      <vt:lpstr>PowerPoint Presentation</vt:lpstr>
      <vt:lpstr>Agenda</vt:lpstr>
      <vt:lpstr>Problem  Statement</vt:lpstr>
      <vt:lpstr>PowerPoint Presentation</vt:lpstr>
      <vt:lpstr>PowerPoint Presentation</vt:lpstr>
      <vt:lpstr>The Fraud Detection Dataset</vt:lpstr>
      <vt:lpstr>The Approach</vt:lpstr>
      <vt:lpstr>Data Insights</vt:lpstr>
      <vt:lpstr>Model Comparison</vt:lpstr>
      <vt:lpstr>Model Performance</vt:lpstr>
      <vt:lpstr>Recommendations</vt:lpstr>
      <vt:lpstr>NEXT STEPS</vt:lpstr>
      <vt:lpstr>QN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dhurima Majumdar</dc:creator>
  <cp:lastModifiedBy>kashish vaid</cp:lastModifiedBy>
  <cp:revision>37</cp:revision>
  <dcterms:created xsi:type="dcterms:W3CDTF">2022-02-07T07:25:08Z</dcterms:created>
  <dcterms:modified xsi:type="dcterms:W3CDTF">2025-03-06T09:17: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707CA101499EC41A05C9C174F69B4A9</vt:lpwstr>
  </property>
  <property fmtid="{D5CDD505-2E9C-101B-9397-08002B2CF9AE}" pid="3" name="ArticulateGUID">
    <vt:lpwstr>E6070F01-EA0A-4E05-B7B5-C48573FC321B</vt:lpwstr>
  </property>
  <property fmtid="{D5CDD505-2E9C-101B-9397-08002B2CF9AE}" pid="4" name="ArticulatePath">
    <vt:lpwstr>https://brightcarbon.sharepoint.com/sites/Intranet/Projects/ABCD/Contrast &amp; Co/CONC 6900 - Evalueserve PowerPoint Template/Evalueserve PowerPoint Template 02</vt:lpwstr>
  </property>
  <property fmtid="{D5CDD505-2E9C-101B-9397-08002B2CF9AE}" pid="5" name="MediaServiceImageTags">
    <vt:lpwstr/>
  </property>
  <property fmtid="{D5CDD505-2E9C-101B-9397-08002B2CF9AE}" pid="6" name="_NewReviewCycle">
    <vt:lpwstr/>
  </property>
</Properties>
</file>